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tags/tag104.xml" ContentType="application/vnd.openxmlformats-officedocument.presentationml.tags+xml"/>
  <Override PartName="/ppt/slides/slide4.xml" ContentType="application/vnd.openxmlformats-officedocument.presentationml.slide+xml"/>
  <Override PartName="/ppt/tags/tag4.xml" ContentType="application/vnd.openxmlformats-officedocument.presentationml.tags+xml"/>
  <Override PartName="/ppt/tags/tag89.xml" ContentType="application/vnd.openxmlformats-officedocument.presentationml.tags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Override PartName="/ppt/tags/tag78.xml" ContentType="application/vnd.openxmlformats-officedocument.presentationml.tags+xml"/>
  <Override PartName="/ppt/tags/tag96.xml" ContentType="application/vnd.openxmlformats-officedocument.presentationml.tags+xml"/>
  <Override PartName="/ppt/tags/tag100.xml" ContentType="application/vnd.openxmlformats-officedocument.presentationml.tags+xml"/>
  <Default Extension="xml" ContentType="application/xml"/>
  <Override PartName="/ppt/notesMasters/notesMaster1.xml" ContentType="application/vnd.openxmlformats-officedocument.presentationml.notesMaster+xml"/>
  <Override PartName="/ppt/tags/tag38.xml" ContentType="application/vnd.openxmlformats-officedocument.presentationml.tags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tags/tag85.xml" ContentType="application/vnd.openxmlformats-officedocument.presentationml.tags+xml"/>
  <Override PartName="/ppt/slides/slide10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45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tags/tag92.xml" ContentType="application/vnd.openxmlformats-officedocument.presentationml.tags+xml"/>
  <Override PartName="/ppt/tags/tag34.xml" ContentType="application/vnd.openxmlformats-officedocument.presentationml.tags+xml"/>
  <Override PartName="/ppt/tags/tag52.xml" ContentType="application/vnd.openxmlformats-officedocument.presentationml.tags+xml"/>
  <Override PartName="/ppt/tags/tag81.xml" ContentType="application/vnd.openxmlformats-officedocument.presentationml.tags+xml"/>
  <Override PartName="/ppt/tags/tag109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41.xml" ContentType="application/vnd.openxmlformats-officedocument.presentationml.tags+xml"/>
  <Override PartName="/ppt/tags/tag70.xml" ContentType="application/vnd.openxmlformats-officedocument.presentationml.tags+xml"/>
  <Override PartName="/ppt/charts/chart3.xml" ContentType="application/vnd.openxmlformats-officedocument.drawingml.chart+xml"/>
  <Override PartName="/ppt/notesSlides/notesSlide7.xml" ContentType="application/vnd.openxmlformats-officedocument.presentationml.notes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30.xml" ContentType="application/vnd.openxmlformats-officedocument.presentationml.tags+xml"/>
  <Override PartName="/ppt/tags/tag105.xml" ContentType="application/vnd.openxmlformats-officedocument.presentationml.tags+xml"/>
  <Override PartName="/ppt/slides/slide5.xml" ContentType="application/vnd.openxmlformats-officedocument.presentationml.slide+xml"/>
  <Default Extension="bin" ContentType="application/vnd.openxmlformats-officedocument.oleObject"/>
  <Default Extension="png" ContentType="image/png"/>
  <Override PartName="/ppt/notesSlides/notesSlide3.xml" ContentType="application/vnd.openxmlformats-officedocument.presentationml.notesSlide+xml"/>
  <Override PartName="/ppt/presProps.xml" ContentType="application/vnd.openxmlformats-officedocument.presentationml.presProp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ags/tag79.xml" ContentType="application/vnd.openxmlformats-officedocument.presentationml.tags+xml"/>
  <Override PartName="/ppt/tags/tag101.xml" ContentType="application/vnd.openxmlformats-officedocument.presentationml.tags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  <Default Extension="emf" ContentType="image/x-emf"/>
  <Override PartName="/ppt/tags/tag39.xml" ContentType="application/vnd.openxmlformats-officedocument.presentationml.tags+xml"/>
  <Override PartName="/ppt/tags/tag59.xml" ContentType="application/vnd.openxmlformats-officedocument.presentationml.tags+xml"/>
  <Override PartName="/ppt/tags/tag68.xml" ContentType="application/vnd.openxmlformats-officedocument.presentationml.tags+xml"/>
  <Override PartName="/ppt/tags/tag77.xml" ContentType="application/vnd.openxmlformats-officedocument.presentationml.tags+xml"/>
  <Override PartName="/ppt/tags/tag86.xml" ContentType="application/vnd.openxmlformats-officedocument.presentationml.tags+xml"/>
  <Override PartName="/ppt/tags/tag88.xml" ContentType="application/vnd.openxmlformats-officedocument.presentationml.tags+xml"/>
  <Override PartName="/ppt/tags/tag97.xml" ContentType="application/vnd.openxmlformats-officedocument.presentationml.tags+xml"/>
  <Override PartName="/ppt/presentation.xml" ContentType="application/vnd.openxmlformats-officedocument.presentationml.presentation.main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57.xml" ContentType="application/vnd.openxmlformats-officedocument.presentationml.tags+xml"/>
  <Override PartName="/ppt/tags/tag66.xml" ContentType="application/vnd.openxmlformats-officedocument.presentationml.tags+xml"/>
  <Override PartName="/ppt/tags/tag75.xml" ContentType="application/vnd.openxmlformats-officedocument.presentationml.tags+xml"/>
  <Override PartName="/ppt/tags/tag84.xml" ContentType="application/vnd.openxmlformats-officedocument.presentationml.tags+xml"/>
  <Override PartName="/ppt/tags/tag95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Default Extension="package" ContentType="application/vnd.openxmlformats-officedocument.package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55.xml" ContentType="application/vnd.openxmlformats-officedocument.presentationml.tags+xml"/>
  <Override PartName="/ppt/tags/tag64.xml" ContentType="application/vnd.openxmlformats-officedocument.presentationml.tags+xml"/>
  <Override PartName="/ppt/tags/tag73.xml" ContentType="application/vnd.openxmlformats-officedocument.presentationml.tags+xml"/>
  <Override PartName="/ppt/tags/tag82.xml" ContentType="application/vnd.openxmlformats-officedocument.presentationml.tags+xml"/>
  <Override PartName="/ppt/tags/tag93.xml" ContentType="application/vnd.openxmlformats-officedocument.presentationml.tags+xml"/>
  <Default Extension="vml" ContentType="application/vnd.openxmlformats-officedocument.vmlDrawing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53.xml" ContentType="application/vnd.openxmlformats-officedocument.presentationml.tags+xml"/>
  <Override PartName="/ppt/tags/tag62.xml" ContentType="application/vnd.openxmlformats-officedocument.presentationml.tags+xml"/>
  <Override PartName="/ppt/tags/tag71.xml" ContentType="application/vnd.openxmlformats-officedocument.presentationml.tags+xml"/>
  <Override PartName="/ppt/tags/tag80.xml" ContentType="application/vnd.openxmlformats-officedocument.presentationml.tags+xml"/>
  <Override PartName="/ppt/tags/tag91.xml" ContentType="application/vnd.openxmlformats-officedocument.presentationml.tags+xml"/>
  <Override PartName="/ppt/notesSlides/notesSlide8.xml" ContentType="application/vnd.openxmlformats-officedocument.presentationml.notesSlide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tags/tag51.xml" ContentType="application/vnd.openxmlformats-officedocument.presentationml.tags+xml"/>
  <Override PartName="/ppt/tags/tag60.xml" ContentType="application/vnd.openxmlformats-officedocument.presentationml.tags+xml"/>
  <Override PartName="/ppt/notesSlides/notesSlide6.xml" ContentType="application/vnd.openxmlformats-officedocument.presentationml.notesSlide+xml"/>
  <Override PartName="/ppt/tags/tag108.xml" ContentType="application/vnd.openxmlformats-officedocument.presentationml.tags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ppt/charts/chart2.xml" ContentType="application/vnd.openxmlformats-officedocument.drawingml.chart+xml"/>
  <Override PartName="/ppt/tags/tag106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tags/tag98.xml" ContentType="application/vnd.openxmlformats-officedocument.presentationml.tags+xml"/>
  <Override PartName="/ppt/tags/tag102.xml" ContentType="application/vnd.openxmlformats-officedocument.presentationml.tags+xml"/>
  <Override PartName="/ppt/slides/slide2.xml" ContentType="application/vnd.openxmlformats-officedocument.presentationml.slide+xml"/>
  <Override PartName="/ppt/tags/tag2.xml" ContentType="application/vnd.openxmlformats-officedocument.presentationml.tags+xml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tags/tag87.xml" ContentType="application/vnd.openxmlformats-officedocument.presentationml.tags+xml"/>
  <Default Extension="rels" ContentType="application/vnd.openxmlformats-package.relationships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tags/tag76.xml" ContentType="application/vnd.openxmlformats-officedocument.presentationml.tags+xml"/>
  <Override PartName="/ppt/tags/tag94.xml" ContentType="application/vnd.openxmlformats-officedocument.presentationml.tags+xml"/>
  <Override PartName="/ppt/slides/slide12.xml" ContentType="application/vnd.openxmlformats-officedocument.presentationml.slide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83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90.xml" ContentType="application/vnd.openxmlformats-officedocument.presentationml.tags+xml"/>
  <Override PartName="/ppt/notesSlides/notesSlide9.xml" ContentType="application/vnd.openxmlformats-officedocument.presentationml.notesSlide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tags/tag107.xml" ContentType="application/vnd.openxmlformats-officedocument.presentationml.tags+xml"/>
  <Override PartName="/ppt/slides/slide7.xml" ContentType="application/vnd.openxmlformats-officedocument.presentationml.slide+xml"/>
  <Override PartName="/ppt/tags/tag10.xml" ContentType="application/vnd.openxmlformats-officedocument.presentationml.tags+xml"/>
  <Override PartName="/ppt/charts/chart1.xml" ContentType="application/vnd.openxmlformats-officedocument.drawingml.chart+xml"/>
  <Override PartName="/ppt/tags/tag21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tags/tag103.xml" ContentType="application/vnd.openxmlformats-officedocument.presentationml.tags+xml"/>
  <Override PartName="/ppt/slides/slide3.xml" ContentType="application/vnd.openxmlformats-officedocument.presentationml.slide+xml"/>
  <Override PartName="/ppt/tags/tag99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4"/>
  </p:notesMasterIdLst>
  <p:sldIdLst>
    <p:sldId id="290" r:id="rId2"/>
    <p:sldId id="292" r:id="rId3"/>
    <p:sldId id="291" r:id="rId4"/>
    <p:sldId id="289" r:id="rId5"/>
    <p:sldId id="283" r:id="rId6"/>
    <p:sldId id="278" r:id="rId7"/>
    <p:sldId id="284" r:id="rId8"/>
    <p:sldId id="273" r:id="rId9"/>
    <p:sldId id="274" r:id="rId10"/>
    <p:sldId id="275" r:id="rId11"/>
    <p:sldId id="276" r:id="rId12"/>
    <p:sldId id="277" r:id="rId13"/>
  </p:sldIdLst>
  <p:sldSz cx="9144000" cy="6858000" type="screen4x3"/>
  <p:notesSz cx="6858000" cy="9144000"/>
  <p:custDataLst>
    <p:tags r:id="rId15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</p:showPr>
  <p:clrMru>
    <a:srgbClr val="00BBEE"/>
    <a:srgbClr val="88DD00"/>
    <a:srgbClr val="AA1133"/>
    <a:srgbClr val="002266"/>
    <a:srgbClr val="66AA44"/>
    <a:srgbClr val="992222"/>
    <a:srgbClr val="DD4411"/>
    <a:srgbClr val="551155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EB344D84-9AFB-497E-A393-DC336BA19D2E}" styleName="Mittlere Formatvorlage 3 - Akz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107" autoAdjust="0"/>
    <p:restoredTop sz="95683" autoAdjust="0"/>
  </p:normalViewPr>
  <p:slideViewPr>
    <p:cSldViewPr snapToGrid="0">
      <p:cViewPr>
        <p:scale>
          <a:sx n="66" d="100"/>
          <a:sy n="66" d="100"/>
        </p:scale>
        <p:origin x="-684" y="-312"/>
      </p:cViewPr>
      <p:guideLst>
        <p:guide orient="horz" pos="945"/>
        <p:guide orient="horz" pos="4033"/>
        <p:guide pos="2408"/>
        <p:guide pos="158"/>
        <p:guide pos="560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36868100" cy="368681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2007-Arbeitsmappe1.package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2007-Arbeitsmappe2.package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2007-Arbeitsmappe3.package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de-DE"/>
  <c:chart>
    <c:plotArea>
      <c:layout>
        <c:manualLayout>
          <c:layoutTarget val="inner"/>
          <c:xMode val="edge"/>
          <c:yMode val="edge"/>
          <c:x val="0"/>
          <c:y val="4.9193641754082688E-2"/>
          <c:w val="0.88387188101747283"/>
          <c:h val="0.86720449706495162"/>
        </c:manualLayout>
      </c:layout>
      <c:barChart>
        <c:barDir val="col"/>
        <c:grouping val="stacked"/>
        <c:ser>
          <c:idx val="0"/>
          <c:order val="0"/>
          <c:tx>
            <c:strRef>
              <c:f>Tabelle1!$B$1</c:f>
              <c:strCache>
                <c:ptCount val="1"/>
                <c:pt idx="0">
                  <c:v> 2</c:v>
                </c:pt>
              </c:strCache>
            </c:strRef>
          </c:tx>
          <c:spPr>
            <a:solidFill>
              <a:schemeClr val="tx2"/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dLbls>
            <c:dLbl>
              <c:idx val="0"/>
              <c:tx>
                <c:rich>
                  <a:bodyPr/>
                  <a:lstStyle/>
                  <a:p>
                    <a:r>
                      <a:rPr lang="en-US" smtClean="0"/>
                      <a:t>41%</a:t>
                    </a:r>
                    <a:endParaRPr lang="en-US" dirty="0"/>
                  </a:p>
                </c:rich>
              </c:tx>
            </c:dLbl>
            <c:dLbl>
              <c:idx val="1"/>
              <c:tx>
                <c:rich>
                  <a:bodyPr/>
                  <a:lstStyle/>
                  <a:p>
                    <a:r>
                      <a:rPr lang="en-US" smtClean="0"/>
                      <a:t>21%</a:t>
                    </a:r>
                    <a:endParaRPr lang="en-US" dirty="0"/>
                  </a:p>
                </c:rich>
              </c:tx>
            </c:dLbl>
            <c:dLbl>
              <c:idx val="2"/>
              <c:tx>
                <c:rich>
                  <a:bodyPr/>
                  <a:lstStyle/>
                  <a:p>
                    <a:r>
                      <a:rPr lang="en-US" smtClean="0"/>
                      <a:t>18%</a:t>
                    </a:r>
                    <a:endParaRPr lang="en-US" dirty="0"/>
                  </a:p>
                </c:rich>
              </c:tx>
            </c:dLbl>
            <c:dLbl>
              <c:idx val="3"/>
              <c:tx>
                <c:rich>
                  <a:bodyPr/>
                  <a:lstStyle/>
                  <a:p>
                    <a:r>
                      <a:rPr lang="en-US" smtClean="0"/>
                      <a:t>17%</a:t>
                    </a:r>
                    <a:endParaRPr lang="en-US" dirty="0"/>
                  </a:p>
                </c:rich>
              </c:tx>
            </c:dLbl>
            <c:dLbl>
              <c:idx val="4"/>
              <c:tx>
                <c:rich>
                  <a:bodyPr/>
                  <a:lstStyle/>
                  <a:p>
                    <a:r>
                      <a:rPr lang="en-US" smtClean="0">
                        <a:solidFill>
                          <a:schemeClr val="bg1"/>
                        </a:solidFill>
                      </a:rPr>
                      <a:t>17%</a:t>
                    </a:r>
                    <a:endParaRPr lang="en-US" dirty="0"/>
                  </a:p>
                </c:rich>
              </c:tx>
            </c:dLbl>
            <c:dLbl>
              <c:idx val="5"/>
              <c:tx>
                <c:rich>
                  <a:bodyPr/>
                  <a:lstStyle/>
                  <a:p>
                    <a:r>
                      <a:rPr lang="en-US" smtClean="0">
                        <a:solidFill>
                          <a:schemeClr val="bg1"/>
                        </a:solidFill>
                      </a:rPr>
                      <a:t>16%</a:t>
                    </a:r>
                    <a:endParaRPr lang="en-US" dirty="0">
                      <a:solidFill>
                        <a:schemeClr val="bg1"/>
                      </a:solidFill>
                    </a:endParaRPr>
                  </a:p>
                </c:rich>
              </c:tx>
            </c:dLbl>
            <c:txPr>
              <a:bodyPr/>
              <a:lstStyle/>
              <a:p>
                <a:pPr>
                  <a:defRPr sz="1400">
                    <a:solidFill>
                      <a:schemeClr val="bg1"/>
                    </a:solidFill>
                  </a:defRPr>
                </a:pPr>
                <a:endParaRPr lang="de-DE"/>
              </a:p>
            </c:txPr>
            <c:showVal val="1"/>
          </c:dLbls>
          <c:cat>
            <c:numRef>
              <c:f>Tabelle1!$A$2:$A$7</c:f>
              <c:numCache>
                <c:formatCode>General</c:formatCode>
                <c:ptCount val="6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</c:numCache>
            </c:numRef>
          </c:cat>
          <c:val>
            <c:numRef>
              <c:f>Tabelle1!$B$2:$B$7</c:f>
              <c:numCache>
                <c:formatCode>General</c:formatCode>
                <c:ptCount val="6"/>
                <c:pt idx="0">
                  <c:v>2.8699999999999997</c:v>
                </c:pt>
                <c:pt idx="1">
                  <c:v>3.7800000000000002</c:v>
                </c:pt>
                <c:pt idx="2">
                  <c:v>4.68</c:v>
                </c:pt>
                <c:pt idx="3">
                  <c:v>5.44</c:v>
                </c:pt>
                <c:pt idx="4">
                  <c:v>6.29</c:v>
                </c:pt>
                <c:pt idx="5">
                  <c:v>6.72</c:v>
                </c:pt>
              </c:numCache>
            </c:numRef>
          </c:val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  </c:v>
                </c:pt>
              </c:strCache>
            </c:strRef>
          </c:tx>
          <c:spPr>
            <a:solidFill>
              <a:schemeClr val="accent2"/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dLbls>
            <c:dLbl>
              <c:idx val="0"/>
              <c:delete val="1"/>
            </c:dLbl>
            <c:dLbl>
              <c:idx val="1"/>
              <c:delete val="1"/>
            </c:dLbl>
            <c:dLbl>
              <c:idx val="2"/>
              <c:tx>
                <c:rich>
                  <a:bodyPr/>
                  <a:lstStyle/>
                  <a:p>
                    <a:r>
                      <a:rPr lang="en-US" sz="1400" dirty="0" smtClean="0"/>
                      <a:t>3%</a:t>
                    </a:r>
                    <a:endParaRPr lang="en-US" dirty="0"/>
                  </a:p>
                </c:rich>
              </c:tx>
            </c:dLbl>
            <c:dLbl>
              <c:idx val="3"/>
              <c:tx>
                <c:rich>
                  <a:bodyPr/>
                  <a:lstStyle/>
                  <a:p>
                    <a:r>
                      <a:rPr lang="en-US" sz="1400" smtClean="0"/>
                      <a:t>5%</a:t>
                    </a:r>
                    <a:endParaRPr lang="en-US" dirty="0"/>
                  </a:p>
                </c:rich>
              </c:tx>
            </c:dLbl>
            <c:dLbl>
              <c:idx val="4"/>
              <c:tx>
                <c:rich>
                  <a:bodyPr/>
                  <a:lstStyle/>
                  <a:p>
                    <a:r>
                      <a:rPr lang="en-US" sz="1400" smtClean="0">
                        <a:solidFill>
                          <a:schemeClr val="bg1"/>
                        </a:solidFill>
                      </a:rPr>
                      <a:t>7%</a:t>
                    </a:r>
                    <a:endParaRPr lang="en-US" dirty="0"/>
                  </a:p>
                </c:rich>
              </c:tx>
            </c:dLbl>
            <c:dLbl>
              <c:idx val="5"/>
              <c:tx>
                <c:rich>
                  <a:bodyPr/>
                  <a:lstStyle/>
                  <a:p>
                    <a:r>
                      <a:rPr lang="en-US" sz="1400" smtClean="0">
                        <a:solidFill>
                          <a:schemeClr val="bg1"/>
                        </a:solidFill>
                      </a:rPr>
                      <a:t>9%</a:t>
                    </a:r>
                    <a:endParaRPr lang="en-US" dirty="0">
                      <a:solidFill>
                        <a:schemeClr val="bg1"/>
                      </a:solidFill>
                    </a:endParaRPr>
                  </a:p>
                </c:rich>
              </c:tx>
            </c:dLbl>
            <c:txPr>
              <a:bodyPr/>
              <a:lstStyle/>
              <a:p>
                <a:pPr>
                  <a:defRPr sz="1400">
                    <a:solidFill>
                      <a:schemeClr val="bg1"/>
                    </a:solidFill>
                  </a:defRPr>
                </a:pPr>
                <a:endParaRPr lang="de-DE"/>
              </a:p>
            </c:txPr>
            <c:showVal val="1"/>
          </c:dLbls>
          <c:cat>
            <c:numRef>
              <c:f>Tabelle1!$A$2:$A$7</c:f>
              <c:numCache>
                <c:formatCode>General</c:formatCode>
                <c:ptCount val="6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</c:numCache>
            </c:numRef>
          </c:cat>
          <c:val>
            <c:numRef>
              <c:f>Tabelle1!$C$2:$C$7</c:f>
              <c:numCache>
                <c:formatCode>General</c:formatCode>
                <c:ptCount val="6"/>
                <c:pt idx="0">
                  <c:v>0.28000000000000008</c:v>
                </c:pt>
                <c:pt idx="1">
                  <c:v>0.18000000000000002</c:v>
                </c:pt>
                <c:pt idx="2">
                  <c:v>0.78</c:v>
                </c:pt>
                <c:pt idx="3">
                  <c:v>1.6</c:v>
                </c:pt>
                <c:pt idx="4">
                  <c:v>2.5900000000000003</c:v>
                </c:pt>
                <c:pt idx="5">
                  <c:v>3.7800000000000002</c:v>
                </c:pt>
              </c:numCache>
            </c:numRef>
          </c:val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   </c:v>
                </c:pt>
              </c:strCache>
            </c:strRef>
          </c:tx>
          <c:spPr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dLbls>
            <c:dLbl>
              <c:idx val="0"/>
              <c:delete val="1"/>
            </c:dLbl>
            <c:dLbl>
              <c:idx val="1"/>
              <c:tx>
                <c:rich>
                  <a:bodyPr/>
                  <a:lstStyle/>
                  <a:p>
                    <a:r>
                      <a:rPr lang="en-US" sz="1400" smtClean="0"/>
                      <a:t>45%</a:t>
                    </a:r>
                    <a:endParaRPr lang="en-US" dirty="0"/>
                  </a:p>
                </c:rich>
              </c:tx>
            </c:dLbl>
            <c:dLbl>
              <c:idx val="2"/>
              <c:tx>
                <c:rich>
                  <a:bodyPr/>
                  <a:lstStyle/>
                  <a:p>
                    <a:r>
                      <a:rPr lang="en-US" sz="1400" smtClean="0"/>
                      <a:t>49%</a:t>
                    </a:r>
                    <a:endParaRPr lang="en-US" dirty="0"/>
                  </a:p>
                </c:rich>
              </c:tx>
            </c:dLbl>
            <c:dLbl>
              <c:idx val="3"/>
              <c:tx>
                <c:rich>
                  <a:bodyPr/>
                  <a:lstStyle/>
                  <a:p>
                    <a:r>
                      <a:rPr lang="en-US" sz="1400" smtClean="0"/>
                      <a:t>49%</a:t>
                    </a:r>
                    <a:endParaRPr lang="en-US" dirty="0"/>
                  </a:p>
                </c:rich>
              </c:tx>
            </c:dLbl>
            <c:dLbl>
              <c:idx val="4"/>
              <c:tx>
                <c:rich>
                  <a:bodyPr/>
                  <a:lstStyle/>
                  <a:p>
                    <a:r>
                      <a:rPr lang="en-US" sz="1400" smtClean="0"/>
                      <a:t>49%</a:t>
                    </a:r>
                    <a:endParaRPr lang="en-US" dirty="0"/>
                  </a:p>
                </c:rich>
              </c:tx>
            </c:dLbl>
            <c:dLbl>
              <c:idx val="5"/>
              <c:tx>
                <c:rich>
                  <a:bodyPr/>
                  <a:lstStyle/>
                  <a:p>
                    <a:r>
                      <a:rPr lang="en-US" sz="1400" smtClean="0"/>
                      <a:t>48%</a:t>
                    </a:r>
                    <a:endParaRPr lang="en-US" dirty="0"/>
                  </a:p>
                </c:rich>
              </c:tx>
            </c:dLbl>
            <c:txPr>
              <a:bodyPr/>
              <a:lstStyle/>
              <a:p>
                <a:pPr>
                  <a:defRPr sz="1400"/>
                </a:pPr>
                <a:endParaRPr lang="de-DE"/>
              </a:p>
            </c:txPr>
            <c:showVal val="1"/>
          </c:dLbls>
          <c:cat>
            <c:numRef>
              <c:f>Tabelle1!$A$2:$A$7</c:f>
              <c:numCache>
                <c:formatCode>General</c:formatCode>
                <c:ptCount val="6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</c:numCache>
            </c:numRef>
          </c:cat>
          <c:val>
            <c:numRef>
              <c:f>Tabelle1!$D$2:$D$7</c:f>
              <c:numCache>
                <c:formatCode>General</c:formatCode>
                <c:ptCount val="6"/>
                <c:pt idx="0">
                  <c:v>1.33</c:v>
                </c:pt>
                <c:pt idx="1">
                  <c:v>8.1</c:v>
                </c:pt>
                <c:pt idx="2">
                  <c:v>12.739999999999998</c:v>
                </c:pt>
                <c:pt idx="3">
                  <c:v>15.68</c:v>
                </c:pt>
                <c:pt idx="4">
                  <c:v>18.130000000000003</c:v>
                </c:pt>
                <c:pt idx="5">
                  <c:v>20.16</c:v>
                </c:pt>
              </c:numCache>
            </c:numRef>
          </c:val>
        </c:ser>
        <c:ser>
          <c:idx val="3"/>
          <c:order val="3"/>
          <c:tx>
            <c:strRef>
              <c:f>Tabelle1!$E$1</c:f>
              <c:strCache>
                <c:ptCount val="1"/>
                <c:pt idx="0">
                  <c:v> 3</c:v>
                </c:pt>
              </c:strCache>
            </c:strRef>
          </c:tx>
          <c:spPr>
            <a:solidFill>
              <a:schemeClr val="bg2"/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dLbls>
            <c:dLbl>
              <c:idx val="0"/>
              <c:tx>
                <c:rich>
                  <a:bodyPr/>
                  <a:lstStyle/>
                  <a:p>
                    <a:r>
                      <a:rPr lang="en-US" sz="1400" smtClean="0">
                        <a:solidFill>
                          <a:schemeClr val="bg1"/>
                        </a:solidFill>
                      </a:rPr>
                      <a:t>36%</a:t>
                    </a:r>
                    <a:endParaRPr lang="en-US" dirty="0"/>
                  </a:p>
                </c:rich>
              </c:tx>
            </c:dLbl>
            <c:dLbl>
              <c:idx val="1"/>
              <c:tx>
                <c:rich>
                  <a:bodyPr/>
                  <a:lstStyle/>
                  <a:p>
                    <a:r>
                      <a:rPr lang="en-US" sz="1400" smtClean="0">
                        <a:solidFill>
                          <a:schemeClr val="bg1"/>
                        </a:solidFill>
                      </a:rPr>
                      <a:t>33%</a:t>
                    </a:r>
                    <a:endParaRPr lang="en-US" dirty="0"/>
                  </a:p>
                </c:rich>
              </c:tx>
            </c:dLbl>
            <c:dLbl>
              <c:idx val="2"/>
              <c:tx>
                <c:rich>
                  <a:bodyPr/>
                  <a:lstStyle/>
                  <a:p>
                    <a:r>
                      <a:rPr lang="en-US" sz="1400" smtClean="0">
                        <a:solidFill>
                          <a:schemeClr val="bg1"/>
                        </a:solidFill>
                      </a:rPr>
                      <a:t>30%</a:t>
                    </a:r>
                    <a:endParaRPr lang="en-US" dirty="0"/>
                  </a:p>
                </c:rich>
              </c:tx>
            </c:dLbl>
            <c:dLbl>
              <c:idx val="3"/>
              <c:tx>
                <c:rich>
                  <a:bodyPr/>
                  <a:lstStyle/>
                  <a:p>
                    <a:r>
                      <a:rPr lang="en-US" sz="1400" smtClean="0">
                        <a:solidFill>
                          <a:schemeClr val="bg1"/>
                        </a:solidFill>
                      </a:rPr>
                      <a:t>28%</a:t>
                    </a:r>
                    <a:endParaRPr lang="en-US" dirty="0"/>
                  </a:p>
                </c:rich>
              </c:tx>
            </c:dLbl>
            <c:dLbl>
              <c:idx val="4"/>
              <c:tx>
                <c:rich>
                  <a:bodyPr/>
                  <a:lstStyle/>
                  <a:p>
                    <a:r>
                      <a:rPr lang="en-US" sz="1400" smtClean="0">
                        <a:solidFill>
                          <a:schemeClr val="bg1"/>
                        </a:solidFill>
                      </a:rPr>
                      <a:t>28%</a:t>
                    </a:r>
                    <a:endParaRPr lang="en-US" dirty="0"/>
                  </a:p>
                </c:rich>
              </c:tx>
            </c:dLbl>
            <c:dLbl>
              <c:idx val="5"/>
              <c:tx>
                <c:rich>
                  <a:bodyPr/>
                  <a:lstStyle/>
                  <a:p>
                    <a:r>
                      <a:rPr lang="en-US" sz="1400" smtClean="0">
                        <a:solidFill>
                          <a:schemeClr val="bg1"/>
                        </a:solidFill>
                      </a:rPr>
                      <a:t>26%</a:t>
                    </a:r>
                    <a:endParaRPr lang="en-US" dirty="0"/>
                  </a:p>
                </c:rich>
              </c:tx>
            </c:dLbl>
            <c:txPr>
              <a:bodyPr/>
              <a:lstStyle/>
              <a:p>
                <a:pPr>
                  <a:defRPr sz="1400">
                    <a:solidFill>
                      <a:schemeClr val="bg1"/>
                    </a:solidFill>
                  </a:defRPr>
                </a:pPr>
                <a:endParaRPr lang="de-DE"/>
              </a:p>
            </c:txPr>
            <c:showVal val="1"/>
          </c:dLbls>
          <c:cat>
            <c:numRef>
              <c:f>Tabelle1!$A$2:$A$7</c:f>
              <c:numCache>
                <c:formatCode>General</c:formatCode>
                <c:ptCount val="6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</c:numCache>
            </c:numRef>
          </c:cat>
          <c:val>
            <c:numRef>
              <c:f>Tabelle1!$E$2:$E$7</c:f>
              <c:numCache>
                <c:formatCode>General</c:formatCode>
                <c:ptCount val="6"/>
                <c:pt idx="0">
                  <c:v>1.82</c:v>
                </c:pt>
                <c:pt idx="1">
                  <c:v>4.68</c:v>
                </c:pt>
                <c:pt idx="2">
                  <c:v>6.76</c:v>
                </c:pt>
                <c:pt idx="3">
                  <c:v>8.32</c:v>
                </c:pt>
                <c:pt idx="4">
                  <c:v>9.620000000000001</c:v>
                </c:pt>
                <c:pt idx="5">
                  <c:v>10.92</c:v>
                </c:pt>
              </c:numCache>
            </c:numRef>
          </c:val>
        </c:ser>
        <c:gapWidth val="61"/>
        <c:overlap val="100"/>
        <c:axId val="52698112"/>
        <c:axId val="53212288"/>
      </c:barChart>
      <c:catAx>
        <c:axId val="52698112"/>
        <c:scaling>
          <c:orientation val="minMax"/>
        </c:scaling>
        <c:axPos val="b"/>
        <c:numFmt formatCode="General" sourceLinked="1"/>
        <c:tickLblPos val="nextTo"/>
        <c:txPr>
          <a:bodyPr/>
          <a:lstStyle/>
          <a:p>
            <a:pPr>
              <a:defRPr sz="1600"/>
            </a:pPr>
            <a:endParaRPr lang="de-DE"/>
          </a:p>
        </c:txPr>
        <c:crossAx val="53212288"/>
        <c:crosses val="autoZero"/>
        <c:auto val="1"/>
        <c:lblAlgn val="ctr"/>
        <c:lblOffset val="100"/>
      </c:catAx>
      <c:valAx>
        <c:axId val="53212288"/>
        <c:scaling>
          <c:orientation val="minMax"/>
        </c:scaling>
        <c:delete val="1"/>
        <c:axPos val="l"/>
        <c:numFmt formatCode="General" sourceLinked="1"/>
        <c:tickLblPos val="none"/>
        <c:crossAx val="52698112"/>
        <c:crosses val="autoZero"/>
        <c:crossBetween val="between"/>
      </c:valAx>
      <c:spPr>
        <a:noFill/>
        <a:ln w="25397">
          <a:noFill/>
        </a:ln>
      </c:spPr>
    </c:plotArea>
    <c:plotVisOnly val="1"/>
    <c:dispBlanksAs val="gap"/>
  </c:chart>
  <c:spPr>
    <a:effectLst/>
  </c:spPr>
  <c:txPr>
    <a:bodyPr/>
    <a:lstStyle/>
    <a:p>
      <a:pPr>
        <a:defRPr sz="1800"/>
      </a:pPr>
      <a:endParaRPr lang="de-DE"/>
    </a:p>
  </c:txPr>
  <c:externalData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de-DE"/>
  <c:chart>
    <c:plotArea>
      <c:layout>
        <c:manualLayout>
          <c:layoutTarget val="inner"/>
          <c:xMode val="edge"/>
          <c:yMode val="edge"/>
          <c:x val="2.1452961289464122E-2"/>
          <c:y val="0.13370229764137298"/>
          <c:w val="0.96600785665935884"/>
          <c:h val="0.8538289136194287"/>
        </c:manualLayout>
      </c:layout>
      <c:barChart>
        <c:barDir val="col"/>
        <c:grouping val="stacked"/>
        <c:ser>
          <c:idx val="0"/>
          <c:order val="0"/>
          <c:tx>
            <c:strRef>
              <c:f>Sheet1!$B$1</c:f>
              <c:strCache>
                <c:ptCount val="1"/>
              </c:strCache>
            </c:strRef>
          </c:tx>
          <c:spPr>
            <a:solidFill>
              <a:schemeClr val="accent3"/>
            </a:solidFill>
            <a:ln w="25393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cat>
            <c:numRef>
              <c:f>Sheet1!$A$2:$A$10</c:f>
              <c:numCache>
                <c:formatCode>General</c:formatCode>
                <c:ptCount val="9"/>
              </c:numCache>
            </c:numRef>
          </c:cat>
          <c:val>
            <c:numRef>
              <c:f>Sheet1!$B$2:$B$10</c:f>
              <c:numCache>
                <c:formatCode>General</c:formatCode>
                <c:ptCount val="9"/>
                <c:pt idx="0">
                  <c:v>1904.7600000002165</c:v>
                </c:pt>
                <c:pt idx="1">
                  <c:v>4761.9000000005417</c:v>
                </c:pt>
                <c:pt idx="2">
                  <c:v>20355.000000002314</c:v>
                </c:pt>
                <c:pt idx="3">
                  <c:v>5952.3750000006776</c:v>
                </c:pt>
                <c:pt idx="4">
                  <c:v>14285.700000001625</c:v>
                </c:pt>
                <c:pt idx="5">
                  <c:v>133333.20000001517</c:v>
                </c:pt>
                <c:pt idx="6">
                  <c:v>3408.0000000003874</c:v>
                </c:pt>
                <c:pt idx="7">
                  <c:v>22619.02500000257</c:v>
                </c:pt>
                <c:pt idx="8">
                  <c:v>121428.45000001381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</c:strCache>
            </c:strRef>
          </c:tx>
          <c:spPr>
            <a:solidFill>
              <a:schemeClr val="accent1"/>
            </a:solidFill>
            <a:ln w="25393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cat>
            <c:numRef>
              <c:f>Sheet1!$A$2:$A$10</c:f>
              <c:numCache>
                <c:formatCode>General</c:formatCode>
                <c:ptCount val="9"/>
              </c:numCache>
            </c:numRef>
          </c:cat>
          <c:val>
            <c:numRef>
              <c:f>Sheet1!$C$2:$C$10</c:f>
              <c:numCache>
                <c:formatCode>General</c:formatCode>
                <c:ptCount val="9"/>
                <c:pt idx="0">
                  <c:v>4458.2400000005064</c:v>
                </c:pt>
                <c:pt idx="1">
                  <c:v>6969.1000000007925</c:v>
                </c:pt>
                <c:pt idx="2">
                  <c:v>0</c:v>
                </c:pt>
                <c:pt idx="3">
                  <c:v>20818.625000002365</c:v>
                </c:pt>
                <c:pt idx="4">
                  <c:v>15634.300000001776</c:v>
                </c:pt>
                <c:pt idx="5">
                  <c:v>72809.800000008312</c:v>
                </c:pt>
                <c:pt idx="6">
                  <c:v>0</c:v>
                </c:pt>
                <c:pt idx="7">
                  <c:v>53135.975000006045</c:v>
                </c:pt>
                <c:pt idx="8">
                  <c:v>211785.55000002403</c:v>
                </c:pt>
              </c:numCache>
            </c:numRef>
          </c:val>
        </c:ser>
        <c:gapWidth val="102"/>
        <c:overlap val="100"/>
        <c:axId val="35427072"/>
        <c:axId val="35428608"/>
      </c:barChart>
      <c:catAx>
        <c:axId val="35427072"/>
        <c:scaling>
          <c:orientation val="maxMin"/>
        </c:scaling>
        <c:axPos val="b"/>
        <c:numFmt formatCode="General" sourceLinked="1"/>
        <c:majorTickMark val="none"/>
        <c:tickLblPos val="none"/>
        <c:spPr>
          <a:ln w="19044">
            <a:solidFill>
              <a:schemeClr val="tx2"/>
            </a:solidFill>
            <a:prstDash val="solid"/>
          </a:ln>
        </c:spPr>
        <c:crossAx val="35428608"/>
        <c:crossesAt val="0"/>
        <c:auto val="1"/>
        <c:lblAlgn val="ctr"/>
        <c:lblOffset val="100"/>
      </c:catAx>
      <c:valAx>
        <c:axId val="35428608"/>
        <c:scaling>
          <c:orientation val="minMax"/>
          <c:max val="350000"/>
          <c:min val="0"/>
        </c:scaling>
        <c:delete val="1"/>
        <c:axPos val="r"/>
        <c:numFmt formatCode="General" sourceLinked="1"/>
        <c:tickLblPos val="none"/>
        <c:crossAx val="35427072"/>
        <c:crosses val="autoZero"/>
        <c:crossBetween val="between"/>
        <c:majorUnit val="50000"/>
      </c:valAx>
      <c:spPr>
        <a:noFill/>
        <a:ln w="25393">
          <a:noFill/>
        </a:ln>
      </c:spPr>
    </c:plotArea>
    <c:plotVisOnly val="1"/>
    <c:dispBlanksAs val="gap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Calibri"/>
          <a:ea typeface="Calibri"/>
          <a:cs typeface="Calibri"/>
        </a:defRPr>
      </a:pPr>
      <a:endParaRPr lang="de-DE"/>
    </a:p>
  </c:txPr>
  <c:externalData r:id="rId1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de-DE"/>
  <c:chart>
    <c:plotArea>
      <c:layout>
        <c:manualLayout>
          <c:layoutTarget val="inner"/>
          <c:xMode val="edge"/>
          <c:yMode val="edge"/>
          <c:x val="1.4184397163120564E-2"/>
          <c:y val="1.8927444794952709E-2"/>
          <c:w val="0.9739952718676127"/>
          <c:h val="0.94637223974763307"/>
        </c:manualLayout>
      </c:layout>
      <c:barChart>
        <c:barDir val="col"/>
        <c:grouping val="stacked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solidFill>
              <a:schemeClr val="accent1"/>
            </a:solidFill>
            <a:ln w="12706">
              <a:solidFill>
                <a:srgbClr val="000000"/>
              </a:solidFill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dPt>
            <c:idx val="0"/>
            <c:spPr>
              <a:solidFill>
                <a:schemeClr val="accent3"/>
              </a:solidFill>
              <a:ln w="12706">
                <a:noFill/>
                <a:prstDash val="soli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</c:dPt>
          <c:dPt>
            <c:idx val="1"/>
            <c:spPr>
              <a:solidFill>
                <a:schemeClr val="accent2"/>
              </a:solidFill>
              <a:ln w="25412"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</c:dPt>
          <c:dPt>
            <c:idx val="2"/>
            <c:spPr>
              <a:solidFill>
                <a:schemeClr val="accent1"/>
              </a:solidFill>
              <a:ln w="25412"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</c:dPt>
          <c:dPt>
            <c:idx val="3"/>
            <c:spPr>
              <a:solidFill>
                <a:srgbClr val="808080"/>
              </a:solidFill>
              <a:ln w="25412"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</c:dPt>
          <c:dPt>
            <c:idx val="4"/>
            <c:spPr>
              <a:solidFill>
                <a:schemeClr val="accent3"/>
              </a:solidFill>
              <a:ln w="12706">
                <a:noFill/>
                <a:prstDash val="soli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</c:dPt>
          <c:dPt>
            <c:idx val="5"/>
            <c:spPr>
              <a:solidFill>
                <a:schemeClr val="accent2"/>
              </a:solidFill>
              <a:ln w="25412"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</c:dPt>
          <c:dPt>
            <c:idx val="6"/>
            <c:spPr>
              <a:solidFill>
                <a:schemeClr val="accent1"/>
              </a:solidFill>
              <a:ln w="25412"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</c:dPt>
          <c:cat>
            <c:numRef>
              <c:f>Sheet1!$B$1:$H$1</c:f>
              <c:numCache>
                <c:formatCode>General</c:formatCode>
                <c:ptCount val="7"/>
              </c:numCache>
            </c:numRef>
          </c:cat>
          <c:val>
            <c:numRef>
              <c:f>Sheet1!$B$2:$H$2</c:f>
              <c:numCache>
                <c:formatCode>General</c:formatCode>
                <c:ptCount val="7"/>
                <c:pt idx="0">
                  <c:v>41.000000000004654</c:v>
                </c:pt>
                <c:pt idx="1">
                  <c:v>62.000000000007049</c:v>
                </c:pt>
                <c:pt idx="2">
                  <c:v>21.000000000002387</c:v>
                </c:pt>
                <c:pt idx="4">
                  <c:v>12.000000000001364</c:v>
                </c:pt>
                <c:pt idx="5">
                  <c:v>15.000000000001705</c:v>
                </c:pt>
                <c:pt idx="6">
                  <c:v>10.000000000001137</c:v>
                </c:pt>
              </c:numCache>
            </c:numRef>
          </c:val>
        </c:ser>
        <c:gapWidth val="76"/>
        <c:overlap val="100"/>
        <c:axId val="34897280"/>
        <c:axId val="34899072"/>
      </c:barChart>
      <c:catAx>
        <c:axId val="34897280"/>
        <c:scaling>
          <c:orientation val="minMax"/>
        </c:scaling>
        <c:axPos val="b"/>
        <c:numFmt formatCode="General" sourceLinked="1"/>
        <c:majorTickMark val="none"/>
        <c:tickLblPos val="none"/>
        <c:spPr>
          <a:ln w="19059">
            <a:solidFill>
              <a:schemeClr val="tx2"/>
            </a:solidFill>
            <a:prstDash val="solid"/>
          </a:ln>
        </c:spPr>
        <c:crossAx val="34899072"/>
        <c:crossesAt val="0"/>
        <c:auto val="1"/>
        <c:lblAlgn val="ctr"/>
        <c:lblOffset val="100"/>
        <c:tickLblSkip val="1"/>
        <c:tickMarkSkip val="1"/>
      </c:catAx>
      <c:valAx>
        <c:axId val="34899072"/>
        <c:scaling>
          <c:orientation val="minMax"/>
          <c:max val="62"/>
          <c:min val="0"/>
        </c:scaling>
        <c:axPos val="l"/>
        <c:numFmt formatCode="General" sourceLinked="1"/>
        <c:majorTickMark val="none"/>
        <c:tickLblPos val="none"/>
        <c:spPr>
          <a:ln w="9529">
            <a:noFill/>
          </a:ln>
        </c:spPr>
        <c:crossAx val="34897280"/>
        <c:crosses val="autoZero"/>
        <c:crossBetween val="between"/>
      </c:valAx>
      <c:spPr>
        <a:noFill/>
        <a:ln w="25412">
          <a:noFill/>
        </a:ln>
      </c:spPr>
    </c:plotArea>
    <c:plotVisOnly val="1"/>
    <c:dispBlanksAs val="gap"/>
  </c:chart>
  <c:spPr>
    <a:noFill/>
    <a:ln>
      <a:noFill/>
    </a:ln>
  </c:spPr>
  <c:txPr>
    <a:bodyPr/>
    <a:lstStyle/>
    <a:p>
      <a:pPr>
        <a:defRPr sz="1201" b="1" i="0" u="none" strike="noStrike" baseline="0">
          <a:solidFill>
            <a:schemeClr val="tx1"/>
          </a:solidFill>
          <a:latin typeface="Calibri"/>
          <a:ea typeface="Calibri"/>
          <a:cs typeface="Calibri"/>
        </a:defRPr>
      </a:pPr>
      <a:endParaRPr lang="de-DE"/>
    </a:p>
  </c:txPr>
  <c:externalData r:id="rId1"/>
</c:chartSpace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image" Target="../media/image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23BAC437-1377-4439-8AFB-5A6DC9151045}" type="datetimeFigureOut">
              <a:rPr lang="de-DE"/>
              <a:pPr>
                <a:defRPr/>
              </a:pPr>
              <a:t>18.11.2011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de-DE" noProof="0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DE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09AC2FE1-6A2B-469F-BA34-9DC122034E1C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1" name="Folienbildplatzhalt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5602" name="Notizenplatzhalt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en-US" smtClean="0"/>
              <a:t>Aktive Transformation der ursprünglichen Unternehmenspositionierung zu einer stabilen Positionierung als Teil der neuen digitalen Wertschöpfungskette</a:t>
            </a:r>
          </a:p>
          <a:p>
            <a:r>
              <a:rPr lang="en-US" smtClean="0"/>
              <a:t>Strukturierte Investition in Flexibilität und Innovation</a:t>
            </a:r>
          </a:p>
          <a:p>
            <a:r>
              <a:rPr lang="en-US" smtClean="0"/>
              <a:t>Internet der Communities ist nächster großer Schritt in der virtuellen Welt</a:t>
            </a:r>
          </a:p>
          <a:p>
            <a:r>
              <a:rPr lang="en-US" smtClean="0"/>
              <a:t> </a:t>
            </a:r>
          </a:p>
          <a:p>
            <a:endParaRPr lang="en-US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F623AB9E-F30B-433D-9243-9F668D5D4C66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7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9698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2FA97BE0-74CF-44FA-91DD-49BD2F546C30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69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2770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571AB477-3D28-45B8-B0D4-0CF68E109F3F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7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4818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3B7EF46-CF9B-448F-A5D8-9420F81E0CDA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89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7890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68D3DA6-4485-46C9-8599-69268A29CC56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7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9938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E0AC4D2-E646-491E-B3D9-3A4FEE9162BA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5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1986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292DC4A-D91E-44BD-8537-551C98069F6C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3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4034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04ECAD5-E28B-4AF6-9645-2211E2F99873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1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6082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7AE3139A-B365-4EFE-A851-CF13BB4ADFD8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1.jpeg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2.jpeg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84"/>
          <p:cNvSpPr/>
          <p:nvPr userDrawn="1"/>
        </p:nvSpPr>
        <p:spPr bwMode="gray">
          <a:xfrm>
            <a:off x="0" y="3429000"/>
            <a:ext cx="9144000" cy="3429000"/>
          </a:xfrm>
          <a:prstGeom prst="rect">
            <a:avLst/>
          </a:prstGeom>
          <a:solidFill>
            <a:schemeClr val="tx2"/>
          </a:solidFill>
          <a:ln w="6350">
            <a:noFill/>
            <a:miter lim="800000"/>
            <a:headEnd/>
            <a:tailEnd/>
          </a:ln>
          <a:effectLst/>
        </p:spPr>
        <p:txBody>
          <a:bodyPr lIns="72000" tIns="72000" rIns="72000" bIns="72000"/>
          <a:lstStyle/>
          <a:p>
            <a:pPr>
              <a:spcBef>
                <a:spcPts val="0"/>
              </a:spcBef>
              <a:spcAft>
                <a:spcPts val="300"/>
              </a:spcAft>
              <a:defRPr/>
            </a:pPr>
            <a:endParaRPr lang="en-US" sz="1600" ker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5" name="Picture 3"/>
          <p:cNvPicPr>
            <a:picLocks noChangeAspect="1" noChangeArrowheads="1"/>
          </p:cNvPicPr>
          <p:nvPr userDrawn="1"/>
        </p:nvPicPr>
        <p:blipFill>
          <a:blip r:embed="rId5"/>
          <a:srcRect/>
          <a:stretch>
            <a:fillRect/>
          </a:stretch>
        </p:blipFill>
        <p:spPr bwMode="auto">
          <a:xfrm>
            <a:off x="0" y="0"/>
            <a:ext cx="9144000" cy="3430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6" name="AutoShape 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50177" name="think-cell Slide" r:id="rId6" imgW="0" imgH="0" progId="">
              <p:embed/>
            </p:oleObj>
          </a:graphicData>
        </a:graphic>
      </p:graphicFrame>
      <p:grpSp>
        <p:nvGrpSpPr>
          <p:cNvPr id="7" name="Gruppieren 46"/>
          <p:cNvGrpSpPr/>
          <p:nvPr userDrawn="1"/>
        </p:nvGrpSpPr>
        <p:grpSpPr>
          <a:xfrm>
            <a:off x="522288" y="2187575"/>
            <a:ext cx="3470275" cy="1809750"/>
            <a:chOff x="522288" y="2187575"/>
            <a:chExt cx="3470275" cy="1809750"/>
          </a:xfrm>
          <a:solidFill>
            <a:schemeClr val="bg1"/>
          </a:solidFill>
        </p:grpSpPr>
        <p:sp>
          <p:nvSpPr>
            <p:cNvPr id="8" name="Freeform 4"/>
            <p:cNvSpPr>
              <a:spLocks noEditPoints="1"/>
            </p:cNvSpPr>
            <p:nvPr/>
          </p:nvSpPr>
          <p:spPr bwMode="gray">
            <a:xfrm>
              <a:off x="522288" y="2708275"/>
              <a:ext cx="350837" cy="473075"/>
            </a:xfrm>
            <a:custGeom>
              <a:avLst/>
              <a:gdLst/>
              <a:ahLst/>
              <a:cxnLst>
                <a:cxn ang="0">
                  <a:pos x="1164" y="1320"/>
                </a:cxn>
                <a:cxn ang="0">
                  <a:pos x="1140" y="1453"/>
                </a:cxn>
                <a:cxn ang="0">
                  <a:pos x="1097" y="1580"/>
                </a:cxn>
                <a:cxn ang="0">
                  <a:pos x="1030" y="1693"/>
                </a:cxn>
                <a:cxn ang="0">
                  <a:pos x="938" y="1779"/>
                </a:cxn>
                <a:cxn ang="0">
                  <a:pos x="819" y="1829"/>
                </a:cxn>
                <a:cxn ang="0">
                  <a:pos x="705" y="1837"/>
                </a:cxn>
                <a:cxn ang="0">
                  <a:pos x="637" y="1827"/>
                </a:cxn>
                <a:cxn ang="0">
                  <a:pos x="581" y="1804"/>
                </a:cxn>
                <a:cxn ang="0">
                  <a:pos x="536" y="1769"/>
                </a:cxn>
                <a:cxn ang="0">
                  <a:pos x="503" y="1722"/>
                </a:cxn>
                <a:cxn ang="0">
                  <a:pos x="483" y="1662"/>
                </a:cxn>
                <a:cxn ang="0">
                  <a:pos x="476" y="1588"/>
                </a:cxn>
                <a:cxn ang="0">
                  <a:pos x="507" y="1459"/>
                </a:cxn>
                <a:cxn ang="0">
                  <a:pos x="589" y="1364"/>
                </a:cxn>
                <a:cxn ang="0">
                  <a:pos x="709" y="1295"/>
                </a:cxn>
                <a:cxn ang="0">
                  <a:pos x="847" y="1252"/>
                </a:cxn>
                <a:cxn ang="0">
                  <a:pos x="1019" y="1225"/>
                </a:cxn>
                <a:cxn ang="0">
                  <a:pos x="1629" y="645"/>
                </a:cxn>
                <a:cxn ang="0">
                  <a:pos x="1607" y="441"/>
                </a:cxn>
                <a:cxn ang="0">
                  <a:pos x="1543" y="281"/>
                </a:cxn>
                <a:cxn ang="0">
                  <a:pos x="1441" y="160"/>
                </a:cxn>
                <a:cxn ang="0">
                  <a:pos x="1306" y="76"/>
                </a:cxn>
                <a:cxn ang="0">
                  <a:pos x="1141" y="25"/>
                </a:cxn>
                <a:cxn ang="0">
                  <a:pos x="952" y="2"/>
                </a:cxn>
                <a:cxn ang="0">
                  <a:pos x="751" y="5"/>
                </a:cxn>
                <a:cxn ang="0">
                  <a:pos x="564" y="36"/>
                </a:cxn>
                <a:cxn ang="0">
                  <a:pos x="398" y="99"/>
                </a:cxn>
                <a:cxn ang="0">
                  <a:pos x="261" y="194"/>
                </a:cxn>
                <a:cxn ang="0">
                  <a:pos x="159" y="326"/>
                </a:cxn>
                <a:cxn ang="0">
                  <a:pos x="96" y="496"/>
                </a:cxn>
                <a:cxn ang="0">
                  <a:pos x="556" y="661"/>
                </a:cxn>
                <a:cxn ang="0">
                  <a:pos x="564" y="570"/>
                </a:cxn>
                <a:cxn ang="0">
                  <a:pos x="587" y="493"/>
                </a:cxn>
                <a:cxn ang="0">
                  <a:pos x="625" y="431"/>
                </a:cxn>
                <a:cxn ang="0">
                  <a:pos x="679" y="385"/>
                </a:cxn>
                <a:cxn ang="0">
                  <a:pos x="749" y="355"/>
                </a:cxn>
                <a:cxn ang="0">
                  <a:pos x="833" y="340"/>
                </a:cxn>
                <a:cxn ang="0">
                  <a:pos x="934" y="343"/>
                </a:cxn>
                <a:cxn ang="0">
                  <a:pos x="1020" y="369"/>
                </a:cxn>
                <a:cxn ang="0">
                  <a:pos x="1083" y="416"/>
                </a:cxn>
                <a:cxn ang="0">
                  <a:pos x="1126" y="481"/>
                </a:cxn>
                <a:cxn ang="0">
                  <a:pos x="1153" y="560"/>
                </a:cxn>
                <a:cxn ang="0">
                  <a:pos x="1169" y="725"/>
                </a:cxn>
                <a:cxn ang="0">
                  <a:pos x="885" y="945"/>
                </a:cxn>
                <a:cxn ang="0">
                  <a:pos x="638" y="982"/>
                </a:cxn>
                <a:cxn ang="0">
                  <a:pos x="406" y="1052"/>
                </a:cxn>
                <a:cxn ang="0">
                  <a:pos x="209" y="1168"/>
                </a:cxn>
                <a:cxn ang="0">
                  <a:pos x="67" y="1339"/>
                </a:cxn>
                <a:cxn ang="0">
                  <a:pos x="2" y="1579"/>
                </a:cxn>
                <a:cxn ang="0">
                  <a:pos x="13" y="1762"/>
                </a:cxn>
                <a:cxn ang="0">
                  <a:pos x="62" y="1897"/>
                </a:cxn>
                <a:cxn ang="0">
                  <a:pos x="143" y="2008"/>
                </a:cxn>
                <a:cxn ang="0">
                  <a:pos x="250" y="2092"/>
                </a:cxn>
                <a:cxn ang="0">
                  <a:pos x="377" y="2149"/>
                </a:cxn>
                <a:cxn ang="0">
                  <a:pos x="522" y="2180"/>
                </a:cxn>
                <a:cxn ang="0">
                  <a:pos x="698" y="2181"/>
                </a:cxn>
                <a:cxn ang="0">
                  <a:pos x="799" y="2166"/>
                </a:cxn>
                <a:cxn ang="0">
                  <a:pos x="896" y="2137"/>
                </a:cxn>
                <a:cxn ang="0">
                  <a:pos x="985" y="2093"/>
                </a:cxn>
                <a:cxn ang="0">
                  <a:pos x="1063" y="2032"/>
                </a:cxn>
                <a:cxn ang="0">
                  <a:pos x="1129" y="1953"/>
                </a:cxn>
                <a:cxn ang="0">
                  <a:pos x="1169" y="2137"/>
                </a:cxn>
              </a:cxnLst>
              <a:rect l="0" t="0" r="r" b="b"/>
              <a:pathLst>
                <a:path w="1629" h="2185">
                  <a:moveTo>
                    <a:pt x="1169" y="1217"/>
                  </a:moveTo>
                  <a:lnTo>
                    <a:pt x="1169" y="1243"/>
                  </a:lnTo>
                  <a:lnTo>
                    <a:pt x="1168" y="1268"/>
                  </a:lnTo>
                  <a:lnTo>
                    <a:pt x="1166" y="1294"/>
                  </a:lnTo>
                  <a:lnTo>
                    <a:pt x="1164" y="1320"/>
                  </a:lnTo>
                  <a:lnTo>
                    <a:pt x="1161" y="1347"/>
                  </a:lnTo>
                  <a:lnTo>
                    <a:pt x="1157" y="1374"/>
                  </a:lnTo>
                  <a:lnTo>
                    <a:pt x="1152" y="1401"/>
                  </a:lnTo>
                  <a:lnTo>
                    <a:pt x="1147" y="1427"/>
                  </a:lnTo>
                  <a:lnTo>
                    <a:pt x="1140" y="1453"/>
                  </a:lnTo>
                  <a:lnTo>
                    <a:pt x="1133" y="1480"/>
                  </a:lnTo>
                  <a:lnTo>
                    <a:pt x="1125" y="1505"/>
                  </a:lnTo>
                  <a:lnTo>
                    <a:pt x="1117" y="1531"/>
                  </a:lnTo>
                  <a:lnTo>
                    <a:pt x="1107" y="1556"/>
                  </a:lnTo>
                  <a:lnTo>
                    <a:pt x="1097" y="1580"/>
                  </a:lnTo>
                  <a:lnTo>
                    <a:pt x="1085" y="1604"/>
                  </a:lnTo>
                  <a:lnTo>
                    <a:pt x="1073" y="1627"/>
                  </a:lnTo>
                  <a:lnTo>
                    <a:pt x="1059" y="1651"/>
                  </a:lnTo>
                  <a:lnTo>
                    <a:pt x="1045" y="1672"/>
                  </a:lnTo>
                  <a:lnTo>
                    <a:pt x="1030" y="1693"/>
                  </a:lnTo>
                  <a:lnTo>
                    <a:pt x="1014" y="1712"/>
                  </a:lnTo>
                  <a:lnTo>
                    <a:pt x="997" y="1731"/>
                  </a:lnTo>
                  <a:lnTo>
                    <a:pt x="978" y="1748"/>
                  </a:lnTo>
                  <a:lnTo>
                    <a:pt x="958" y="1764"/>
                  </a:lnTo>
                  <a:lnTo>
                    <a:pt x="938" y="1779"/>
                  </a:lnTo>
                  <a:lnTo>
                    <a:pt x="916" y="1792"/>
                  </a:lnTo>
                  <a:lnTo>
                    <a:pt x="894" y="1804"/>
                  </a:lnTo>
                  <a:lnTo>
                    <a:pt x="870" y="1814"/>
                  </a:lnTo>
                  <a:lnTo>
                    <a:pt x="845" y="1823"/>
                  </a:lnTo>
                  <a:lnTo>
                    <a:pt x="819" y="1829"/>
                  </a:lnTo>
                  <a:lnTo>
                    <a:pt x="792" y="1834"/>
                  </a:lnTo>
                  <a:lnTo>
                    <a:pt x="764" y="1837"/>
                  </a:lnTo>
                  <a:lnTo>
                    <a:pt x="734" y="1838"/>
                  </a:lnTo>
                  <a:lnTo>
                    <a:pt x="719" y="1838"/>
                  </a:lnTo>
                  <a:lnTo>
                    <a:pt x="705" y="1837"/>
                  </a:lnTo>
                  <a:lnTo>
                    <a:pt x="690" y="1836"/>
                  </a:lnTo>
                  <a:lnTo>
                    <a:pt x="676" y="1835"/>
                  </a:lnTo>
                  <a:lnTo>
                    <a:pt x="663" y="1832"/>
                  </a:lnTo>
                  <a:lnTo>
                    <a:pt x="650" y="1830"/>
                  </a:lnTo>
                  <a:lnTo>
                    <a:pt x="637" y="1827"/>
                  </a:lnTo>
                  <a:lnTo>
                    <a:pt x="625" y="1823"/>
                  </a:lnTo>
                  <a:lnTo>
                    <a:pt x="614" y="1819"/>
                  </a:lnTo>
                  <a:lnTo>
                    <a:pt x="602" y="1815"/>
                  </a:lnTo>
                  <a:lnTo>
                    <a:pt x="592" y="1810"/>
                  </a:lnTo>
                  <a:lnTo>
                    <a:pt x="581" y="1804"/>
                  </a:lnTo>
                  <a:lnTo>
                    <a:pt x="571" y="1798"/>
                  </a:lnTo>
                  <a:lnTo>
                    <a:pt x="562" y="1792"/>
                  </a:lnTo>
                  <a:lnTo>
                    <a:pt x="553" y="1785"/>
                  </a:lnTo>
                  <a:lnTo>
                    <a:pt x="544" y="1777"/>
                  </a:lnTo>
                  <a:lnTo>
                    <a:pt x="536" y="1769"/>
                  </a:lnTo>
                  <a:lnTo>
                    <a:pt x="529" y="1761"/>
                  </a:lnTo>
                  <a:lnTo>
                    <a:pt x="522" y="1752"/>
                  </a:lnTo>
                  <a:lnTo>
                    <a:pt x="515" y="1742"/>
                  </a:lnTo>
                  <a:lnTo>
                    <a:pt x="509" y="1732"/>
                  </a:lnTo>
                  <a:lnTo>
                    <a:pt x="503" y="1722"/>
                  </a:lnTo>
                  <a:lnTo>
                    <a:pt x="498" y="1711"/>
                  </a:lnTo>
                  <a:lnTo>
                    <a:pt x="494" y="1699"/>
                  </a:lnTo>
                  <a:lnTo>
                    <a:pt x="490" y="1687"/>
                  </a:lnTo>
                  <a:lnTo>
                    <a:pt x="486" y="1675"/>
                  </a:lnTo>
                  <a:lnTo>
                    <a:pt x="483" y="1662"/>
                  </a:lnTo>
                  <a:lnTo>
                    <a:pt x="481" y="1648"/>
                  </a:lnTo>
                  <a:lnTo>
                    <a:pt x="479" y="1633"/>
                  </a:lnTo>
                  <a:lnTo>
                    <a:pt x="477" y="1619"/>
                  </a:lnTo>
                  <a:lnTo>
                    <a:pt x="476" y="1604"/>
                  </a:lnTo>
                  <a:lnTo>
                    <a:pt x="476" y="1588"/>
                  </a:lnTo>
                  <a:lnTo>
                    <a:pt x="477" y="1560"/>
                  </a:lnTo>
                  <a:lnTo>
                    <a:pt x="481" y="1532"/>
                  </a:lnTo>
                  <a:lnTo>
                    <a:pt x="488" y="1507"/>
                  </a:lnTo>
                  <a:lnTo>
                    <a:pt x="496" y="1482"/>
                  </a:lnTo>
                  <a:lnTo>
                    <a:pt x="507" y="1459"/>
                  </a:lnTo>
                  <a:lnTo>
                    <a:pt x="520" y="1438"/>
                  </a:lnTo>
                  <a:lnTo>
                    <a:pt x="535" y="1417"/>
                  </a:lnTo>
                  <a:lnTo>
                    <a:pt x="551" y="1398"/>
                  </a:lnTo>
                  <a:lnTo>
                    <a:pt x="570" y="1380"/>
                  </a:lnTo>
                  <a:lnTo>
                    <a:pt x="589" y="1364"/>
                  </a:lnTo>
                  <a:lnTo>
                    <a:pt x="611" y="1347"/>
                  </a:lnTo>
                  <a:lnTo>
                    <a:pt x="633" y="1332"/>
                  </a:lnTo>
                  <a:lnTo>
                    <a:pt x="657" y="1319"/>
                  </a:lnTo>
                  <a:lnTo>
                    <a:pt x="682" y="1307"/>
                  </a:lnTo>
                  <a:lnTo>
                    <a:pt x="709" y="1295"/>
                  </a:lnTo>
                  <a:lnTo>
                    <a:pt x="735" y="1285"/>
                  </a:lnTo>
                  <a:lnTo>
                    <a:pt x="762" y="1275"/>
                  </a:lnTo>
                  <a:lnTo>
                    <a:pt x="790" y="1267"/>
                  </a:lnTo>
                  <a:lnTo>
                    <a:pt x="819" y="1259"/>
                  </a:lnTo>
                  <a:lnTo>
                    <a:pt x="847" y="1252"/>
                  </a:lnTo>
                  <a:lnTo>
                    <a:pt x="876" y="1246"/>
                  </a:lnTo>
                  <a:lnTo>
                    <a:pt x="905" y="1240"/>
                  </a:lnTo>
                  <a:lnTo>
                    <a:pt x="933" y="1235"/>
                  </a:lnTo>
                  <a:lnTo>
                    <a:pt x="962" y="1231"/>
                  </a:lnTo>
                  <a:lnTo>
                    <a:pt x="1019" y="1225"/>
                  </a:lnTo>
                  <a:lnTo>
                    <a:pt x="1073" y="1221"/>
                  </a:lnTo>
                  <a:lnTo>
                    <a:pt x="1123" y="1218"/>
                  </a:lnTo>
                  <a:lnTo>
                    <a:pt x="1169" y="1217"/>
                  </a:lnTo>
                  <a:close/>
                  <a:moveTo>
                    <a:pt x="1629" y="2137"/>
                  </a:moveTo>
                  <a:lnTo>
                    <a:pt x="1629" y="645"/>
                  </a:lnTo>
                  <a:lnTo>
                    <a:pt x="1628" y="601"/>
                  </a:lnTo>
                  <a:lnTo>
                    <a:pt x="1626" y="558"/>
                  </a:lnTo>
                  <a:lnTo>
                    <a:pt x="1621" y="517"/>
                  </a:lnTo>
                  <a:lnTo>
                    <a:pt x="1615" y="478"/>
                  </a:lnTo>
                  <a:lnTo>
                    <a:pt x="1607" y="441"/>
                  </a:lnTo>
                  <a:lnTo>
                    <a:pt x="1597" y="406"/>
                  </a:lnTo>
                  <a:lnTo>
                    <a:pt x="1586" y="372"/>
                  </a:lnTo>
                  <a:lnTo>
                    <a:pt x="1573" y="340"/>
                  </a:lnTo>
                  <a:lnTo>
                    <a:pt x="1559" y="310"/>
                  </a:lnTo>
                  <a:lnTo>
                    <a:pt x="1543" y="281"/>
                  </a:lnTo>
                  <a:lnTo>
                    <a:pt x="1526" y="254"/>
                  </a:lnTo>
                  <a:lnTo>
                    <a:pt x="1506" y="228"/>
                  </a:lnTo>
                  <a:lnTo>
                    <a:pt x="1485" y="204"/>
                  </a:lnTo>
                  <a:lnTo>
                    <a:pt x="1464" y="181"/>
                  </a:lnTo>
                  <a:lnTo>
                    <a:pt x="1441" y="160"/>
                  </a:lnTo>
                  <a:lnTo>
                    <a:pt x="1416" y="141"/>
                  </a:lnTo>
                  <a:lnTo>
                    <a:pt x="1391" y="123"/>
                  </a:lnTo>
                  <a:lnTo>
                    <a:pt x="1364" y="106"/>
                  </a:lnTo>
                  <a:lnTo>
                    <a:pt x="1335" y="90"/>
                  </a:lnTo>
                  <a:lnTo>
                    <a:pt x="1306" y="76"/>
                  </a:lnTo>
                  <a:lnTo>
                    <a:pt x="1276" y="64"/>
                  </a:lnTo>
                  <a:lnTo>
                    <a:pt x="1243" y="52"/>
                  </a:lnTo>
                  <a:lnTo>
                    <a:pt x="1210" y="42"/>
                  </a:lnTo>
                  <a:lnTo>
                    <a:pt x="1176" y="33"/>
                  </a:lnTo>
                  <a:lnTo>
                    <a:pt x="1141" y="25"/>
                  </a:lnTo>
                  <a:lnTo>
                    <a:pt x="1106" y="18"/>
                  </a:lnTo>
                  <a:lnTo>
                    <a:pt x="1069" y="12"/>
                  </a:lnTo>
                  <a:lnTo>
                    <a:pt x="1031" y="8"/>
                  </a:lnTo>
                  <a:lnTo>
                    <a:pt x="993" y="4"/>
                  </a:lnTo>
                  <a:lnTo>
                    <a:pt x="952" y="2"/>
                  </a:lnTo>
                  <a:lnTo>
                    <a:pt x="912" y="0"/>
                  </a:lnTo>
                  <a:lnTo>
                    <a:pt x="871" y="0"/>
                  </a:lnTo>
                  <a:lnTo>
                    <a:pt x="830" y="1"/>
                  </a:lnTo>
                  <a:lnTo>
                    <a:pt x="790" y="2"/>
                  </a:lnTo>
                  <a:lnTo>
                    <a:pt x="751" y="5"/>
                  </a:lnTo>
                  <a:lnTo>
                    <a:pt x="712" y="9"/>
                  </a:lnTo>
                  <a:lnTo>
                    <a:pt x="673" y="14"/>
                  </a:lnTo>
                  <a:lnTo>
                    <a:pt x="636" y="20"/>
                  </a:lnTo>
                  <a:lnTo>
                    <a:pt x="599" y="28"/>
                  </a:lnTo>
                  <a:lnTo>
                    <a:pt x="564" y="36"/>
                  </a:lnTo>
                  <a:lnTo>
                    <a:pt x="529" y="46"/>
                  </a:lnTo>
                  <a:lnTo>
                    <a:pt x="495" y="57"/>
                  </a:lnTo>
                  <a:lnTo>
                    <a:pt x="462" y="70"/>
                  </a:lnTo>
                  <a:lnTo>
                    <a:pt x="430" y="83"/>
                  </a:lnTo>
                  <a:lnTo>
                    <a:pt x="398" y="99"/>
                  </a:lnTo>
                  <a:lnTo>
                    <a:pt x="368" y="115"/>
                  </a:lnTo>
                  <a:lnTo>
                    <a:pt x="340" y="133"/>
                  </a:lnTo>
                  <a:lnTo>
                    <a:pt x="312" y="152"/>
                  </a:lnTo>
                  <a:lnTo>
                    <a:pt x="286" y="172"/>
                  </a:lnTo>
                  <a:lnTo>
                    <a:pt x="261" y="194"/>
                  </a:lnTo>
                  <a:lnTo>
                    <a:pt x="238" y="217"/>
                  </a:lnTo>
                  <a:lnTo>
                    <a:pt x="216" y="243"/>
                  </a:lnTo>
                  <a:lnTo>
                    <a:pt x="196" y="269"/>
                  </a:lnTo>
                  <a:lnTo>
                    <a:pt x="177" y="297"/>
                  </a:lnTo>
                  <a:lnTo>
                    <a:pt x="159" y="326"/>
                  </a:lnTo>
                  <a:lnTo>
                    <a:pt x="143" y="357"/>
                  </a:lnTo>
                  <a:lnTo>
                    <a:pt x="128" y="389"/>
                  </a:lnTo>
                  <a:lnTo>
                    <a:pt x="116" y="423"/>
                  </a:lnTo>
                  <a:lnTo>
                    <a:pt x="105" y="459"/>
                  </a:lnTo>
                  <a:lnTo>
                    <a:pt x="96" y="496"/>
                  </a:lnTo>
                  <a:lnTo>
                    <a:pt x="89" y="535"/>
                  </a:lnTo>
                  <a:lnTo>
                    <a:pt x="84" y="575"/>
                  </a:lnTo>
                  <a:lnTo>
                    <a:pt x="81" y="617"/>
                  </a:lnTo>
                  <a:lnTo>
                    <a:pt x="80" y="661"/>
                  </a:lnTo>
                  <a:lnTo>
                    <a:pt x="556" y="661"/>
                  </a:lnTo>
                  <a:lnTo>
                    <a:pt x="557" y="642"/>
                  </a:lnTo>
                  <a:lnTo>
                    <a:pt x="558" y="623"/>
                  </a:lnTo>
                  <a:lnTo>
                    <a:pt x="559" y="605"/>
                  </a:lnTo>
                  <a:lnTo>
                    <a:pt x="561" y="587"/>
                  </a:lnTo>
                  <a:lnTo>
                    <a:pt x="564" y="570"/>
                  </a:lnTo>
                  <a:lnTo>
                    <a:pt x="567" y="554"/>
                  </a:lnTo>
                  <a:lnTo>
                    <a:pt x="571" y="538"/>
                  </a:lnTo>
                  <a:lnTo>
                    <a:pt x="576" y="523"/>
                  </a:lnTo>
                  <a:lnTo>
                    <a:pt x="581" y="507"/>
                  </a:lnTo>
                  <a:lnTo>
                    <a:pt x="587" y="493"/>
                  </a:lnTo>
                  <a:lnTo>
                    <a:pt x="593" y="479"/>
                  </a:lnTo>
                  <a:lnTo>
                    <a:pt x="601" y="466"/>
                  </a:lnTo>
                  <a:lnTo>
                    <a:pt x="608" y="454"/>
                  </a:lnTo>
                  <a:lnTo>
                    <a:pt x="616" y="442"/>
                  </a:lnTo>
                  <a:lnTo>
                    <a:pt x="625" y="431"/>
                  </a:lnTo>
                  <a:lnTo>
                    <a:pt x="635" y="421"/>
                  </a:lnTo>
                  <a:lnTo>
                    <a:pt x="645" y="411"/>
                  </a:lnTo>
                  <a:lnTo>
                    <a:pt x="656" y="402"/>
                  </a:lnTo>
                  <a:lnTo>
                    <a:pt x="667" y="393"/>
                  </a:lnTo>
                  <a:lnTo>
                    <a:pt x="679" y="385"/>
                  </a:lnTo>
                  <a:lnTo>
                    <a:pt x="691" y="378"/>
                  </a:lnTo>
                  <a:lnTo>
                    <a:pt x="706" y="371"/>
                  </a:lnTo>
                  <a:lnTo>
                    <a:pt x="719" y="365"/>
                  </a:lnTo>
                  <a:lnTo>
                    <a:pt x="734" y="359"/>
                  </a:lnTo>
                  <a:lnTo>
                    <a:pt x="749" y="355"/>
                  </a:lnTo>
                  <a:lnTo>
                    <a:pt x="764" y="350"/>
                  </a:lnTo>
                  <a:lnTo>
                    <a:pt x="781" y="347"/>
                  </a:lnTo>
                  <a:lnTo>
                    <a:pt x="797" y="344"/>
                  </a:lnTo>
                  <a:lnTo>
                    <a:pt x="815" y="341"/>
                  </a:lnTo>
                  <a:lnTo>
                    <a:pt x="833" y="340"/>
                  </a:lnTo>
                  <a:lnTo>
                    <a:pt x="852" y="339"/>
                  </a:lnTo>
                  <a:lnTo>
                    <a:pt x="871" y="338"/>
                  </a:lnTo>
                  <a:lnTo>
                    <a:pt x="893" y="339"/>
                  </a:lnTo>
                  <a:lnTo>
                    <a:pt x="914" y="341"/>
                  </a:lnTo>
                  <a:lnTo>
                    <a:pt x="934" y="343"/>
                  </a:lnTo>
                  <a:lnTo>
                    <a:pt x="953" y="347"/>
                  </a:lnTo>
                  <a:lnTo>
                    <a:pt x="972" y="351"/>
                  </a:lnTo>
                  <a:lnTo>
                    <a:pt x="989" y="356"/>
                  </a:lnTo>
                  <a:lnTo>
                    <a:pt x="1005" y="362"/>
                  </a:lnTo>
                  <a:lnTo>
                    <a:pt x="1020" y="369"/>
                  </a:lnTo>
                  <a:lnTo>
                    <a:pt x="1034" y="377"/>
                  </a:lnTo>
                  <a:lnTo>
                    <a:pt x="1048" y="386"/>
                  </a:lnTo>
                  <a:lnTo>
                    <a:pt x="1060" y="395"/>
                  </a:lnTo>
                  <a:lnTo>
                    <a:pt x="1072" y="405"/>
                  </a:lnTo>
                  <a:lnTo>
                    <a:pt x="1083" y="416"/>
                  </a:lnTo>
                  <a:lnTo>
                    <a:pt x="1093" y="428"/>
                  </a:lnTo>
                  <a:lnTo>
                    <a:pt x="1102" y="440"/>
                  </a:lnTo>
                  <a:lnTo>
                    <a:pt x="1111" y="453"/>
                  </a:lnTo>
                  <a:lnTo>
                    <a:pt x="1119" y="467"/>
                  </a:lnTo>
                  <a:lnTo>
                    <a:pt x="1126" y="481"/>
                  </a:lnTo>
                  <a:lnTo>
                    <a:pt x="1133" y="495"/>
                  </a:lnTo>
                  <a:lnTo>
                    <a:pt x="1139" y="510"/>
                  </a:lnTo>
                  <a:lnTo>
                    <a:pt x="1144" y="527"/>
                  </a:lnTo>
                  <a:lnTo>
                    <a:pt x="1149" y="543"/>
                  </a:lnTo>
                  <a:lnTo>
                    <a:pt x="1153" y="560"/>
                  </a:lnTo>
                  <a:lnTo>
                    <a:pt x="1157" y="577"/>
                  </a:lnTo>
                  <a:lnTo>
                    <a:pt x="1162" y="612"/>
                  </a:lnTo>
                  <a:lnTo>
                    <a:pt x="1166" y="649"/>
                  </a:lnTo>
                  <a:lnTo>
                    <a:pt x="1169" y="687"/>
                  </a:lnTo>
                  <a:lnTo>
                    <a:pt x="1169" y="725"/>
                  </a:lnTo>
                  <a:lnTo>
                    <a:pt x="1169" y="927"/>
                  </a:lnTo>
                  <a:lnTo>
                    <a:pt x="1078" y="931"/>
                  </a:lnTo>
                  <a:lnTo>
                    <a:pt x="983" y="936"/>
                  </a:lnTo>
                  <a:lnTo>
                    <a:pt x="933" y="940"/>
                  </a:lnTo>
                  <a:lnTo>
                    <a:pt x="885" y="945"/>
                  </a:lnTo>
                  <a:lnTo>
                    <a:pt x="835" y="950"/>
                  </a:lnTo>
                  <a:lnTo>
                    <a:pt x="786" y="956"/>
                  </a:lnTo>
                  <a:lnTo>
                    <a:pt x="737" y="964"/>
                  </a:lnTo>
                  <a:lnTo>
                    <a:pt x="687" y="972"/>
                  </a:lnTo>
                  <a:lnTo>
                    <a:pt x="638" y="982"/>
                  </a:lnTo>
                  <a:lnTo>
                    <a:pt x="590" y="993"/>
                  </a:lnTo>
                  <a:lnTo>
                    <a:pt x="543" y="1005"/>
                  </a:lnTo>
                  <a:lnTo>
                    <a:pt x="496" y="1019"/>
                  </a:lnTo>
                  <a:lnTo>
                    <a:pt x="451" y="1035"/>
                  </a:lnTo>
                  <a:lnTo>
                    <a:pt x="406" y="1052"/>
                  </a:lnTo>
                  <a:lnTo>
                    <a:pt x="363" y="1071"/>
                  </a:lnTo>
                  <a:lnTo>
                    <a:pt x="322" y="1093"/>
                  </a:lnTo>
                  <a:lnTo>
                    <a:pt x="282" y="1115"/>
                  </a:lnTo>
                  <a:lnTo>
                    <a:pt x="245" y="1140"/>
                  </a:lnTo>
                  <a:lnTo>
                    <a:pt x="209" y="1168"/>
                  </a:lnTo>
                  <a:lnTo>
                    <a:pt x="176" y="1197"/>
                  </a:lnTo>
                  <a:lnTo>
                    <a:pt x="145" y="1229"/>
                  </a:lnTo>
                  <a:lnTo>
                    <a:pt x="115" y="1263"/>
                  </a:lnTo>
                  <a:lnTo>
                    <a:pt x="90" y="1299"/>
                  </a:lnTo>
                  <a:lnTo>
                    <a:pt x="67" y="1339"/>
                  </a:lnTo>
                  <a:lnTo>
                    <a:pt x="47" y="1382"/>
                  </a:lnTo>
                  <a:lnTo>
                    <a:pt x="31" y="1427"/>
                  </a:lnTo>
                  <a:lnTo>
                    <a:pt x="17" y="1475"/>
                  </a:lnTo>
                  <a:lnTo>
                    <a:pt x="8" y="1525"/>
                  </a:lnTo>
                  <a:lnTo>
                    <a:pt x="2" y="1579"/>
                  </a:lnTo>
                  <a:lnTo>
                    <a:pt x="0" y="1637"/>
                  </a:lnTo>
                  <a:lnTo>
                    <a:pt x="1" y="1670"/>
                  </a:lnTo>
                  <a:lnTo>
                    <a:pt x="3" y="1702"/>
                  </a:lnTo>
                  <a:lnTo>
                    <a:pt x="7" y="1733"/>
                  </a:lnTo>
                  <a:lnTo>
                    <a:pt x="13" y="1762"/>
                  </a:lnTo>
                  <a:lnTo>
                    <a:pt x="20" y="1791"/>
                  </a:lnTo>
                  <a:lnTo>
                    <a:pt x="28" y="1819"/>
                  </a:lnTo>
                  <a:lnTo>
                    <a:pt x="38" y="1846"/>
                  </a:lnTo>
                  <a:lnTo>
                    <a:pt x="49" y="1872"/>
                  </a:lnTo>
                  <a:lnTo>
                    <a:pt x="62" y="1897"/>
                  </a:lnTo>
                  <a:lnTo>
                    <a:pt x="75" y="1922"/>
                  </a:lnTo>
                  <a:lnTo>
                    <a:pt x="90" y="1945"/>
                  </a:lnTo>
                  <a:lnTo>
                    <a:pt x="106" y="1967"/>
                  </a:lnTo>
                  <a:lnTo>
                    <a:pt x="124" y="1988"/>
                  </a:lnTo>
                  <a:lnTo>
                    <a:pt x="143" y="2008"/>
                  </a:lnTo>
                  <a:lnTo>
                    <a:pt x="162" y="2026"/>
                  </a:lnTo>
                  <a:lnTo>
                    <a:pt x="183" y="2044"/>
                  </a:lnTo>
                  <a:lnTo>
                    <a:pt x="204" y="2061"/>
                  </a:lnTo>
                  <a:lnTo>
                    <a:pt x="226" y="2077"/>
                  </a:lnTo>
                  <a:lnTo>
                    <a:pt x="250" y="2092"/>
                  </a:lnTo>
                  <a:lnTo>
                    <a:pt x="274" y="2105"/>
                  </a:lnTo>
                  <a:lnTo>
                    <a:pt x="298" y="2118"/>
                  </a:lnTo>
                  <a:lnTo>
                    <a:pt x="324" y="2129"/>
                  </a:lnTo>
                  <a:lnTo>
                    <a:pt x="350" y="2140"/>
                  </a:lnTo>
                  <a:lnTo>
                    <a:pt x="377" y="2149"/>
                  </a:lnTo>
                  <a:lnTo>
                    <a:pt x="405" y="2158"/>
                  </a:lnTo>
                  <a:lnTo>
                    <a:pt x="434" y="2165"/>
                  </a:lnTo>
                  <a:lnTo>
                    <a:pt x="463" y="2171"/>
                  </a:lnTo>
                  <a:lnTo>
                    <a:pt x="492" y="2176"/>
                  </a:lnTo>
                  <a:lnTo>
                    <a:pt x="522" y="2180"/>
                  </a:lnTo>
                  <a:lnTo>
                    <a:pt x="552" y="2183"/>
                  </a:lnTo>
                  <a:lnTo>
                    <a:pt x="582" y="2184"/>
                  </a:lnTo>
                  <a:lnTo>
                    <a:pt x="613" y="2185"/>
                  </a:lnTo>
                  <a:lnTo>
                    <a:pt x="655" y="2184"/>
                  </a:lnTo>
                  <a:lnTo>
                    <a:pt x="698" y="2181"/>
                  </a:lnTo>
                  <a:lnTo>
                    <a:pt x="718" y="2179"/>
                  </a:lnTo>
                  <a:lnTo>
                    <a:pt x="739" y="2177"/>
                  </a:lnTo>
                  <a:lnTo>
                    <a:pt x="759" y="2174"/>
                  </a:lnTo>
                  <a:lnTo>
                    <a:pt x="779" y="2170"/>
                  </a:lnTo>
                  <a:lnTo>
                    <a:pt x="799" y="2166"/>
                  </a:lnTo>
                  <a:lnTo>
                    <a:pt x="819" y="2162"/>
                  </a:lnTo>
                  <a:lnTo>
                    <a:pt x="839" y="2156"/>
                  </a:lnTo>
                  <a:lnTo>
                    <a:pt x="858" y="2151"/>
                  </a:lnTo>
                  <a:lnTo>
                    <a:pt x="877" y="2144"/>
                  </a:lnTo>
                  <a:lnTo>
                    <a:pt x="896" y="2137"/>
                  </a:lnTo>
                  <a:lnTo>
                    <a:pt x="914" y="2130"/>
                  </a:lnTo>
                  <a:lnTo>
                    <a:pt x="932" y="2122"/>
                  </a:lnTo>
                  <a:lnTo>
                    <a:pt x="950" y="2113"/>
                  </a:lnTo>
                  <a:lnTo>
                    <a:pt x="967" y="2103"/>
                  </a:lnTo>
                  <a:lnTo>
                    <a:pt x="985" y="2093"/>
                  </a:lnTo>
                  <a:lnTo>
                    <a:pt x="1002" y="2082"/>
                  </a:lnTo>
                  <a:lnTo>
                    <a:pt x="1018" y="2071"/>
                  </a:lnTo>
                  <a:lnTo>
                    <a:pt x="1033" y="2059"/>
                  </a:lnTo>
                  <a:lnTo>
                    <a:pt x="1049" y="2046"/>
                  </a:lnTo>
                  <a:lnTo>
                    <a:pt x="1063" y="2032"/>
                  </a:lnTo>
                  <a:lnTo>
                    <a:pt x="1078" y="2018"/>
                  </a:lnTo>
                  <a:lnTo>
                    <a:pt x="1091" y="2003"/>
                  </a:lnTo>
                  <a:lnTo>
                    <a:pt x="1104" y="1987"/>
                  </a:lnTo>
                  <a:lnTo>
                    <a:pt x="1117" y="1970"/>
                  </a:lnTo>
                  <a:lnTo>
                    <a:pt x="1129" y="1953"/>
                  </a:lnTo>
                  <a:lnTo>
                    <a:pt x="1140" y="1935"/>
                  </a:lnTo>
                  <a:lnTo>
                    <a:pt x="1151" y="1916"/>
                  </a:lnTo>
                  <a:lnTo>
                    <a:pt x="1161" y="1895"/>
                  </a:lnTo>
                  <a:lnTo>
                    <a:pt x="1169" y="1895"/>
                  </a:lnTo>
                  <a:lnTo>
                    <a:pt x="1169" y="2137"/>
                  </a:lnTo>
                  <a:lnTo>
                    <a:pt x="1629" y="213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  <a:cs typeface="+mn-cs"/>
              </a:endParaRPr>
            </a:p>
          </p:txBody>
        </p:sp>
        <p:sp>
          <p:nvSpPr>
            <p:cNvPr id="9" name="Freeform 5"/>
            <p:cNvSpPr>
              <a:spLocks/>
            </p:cNvSpPr>
            <p:nvPr/>
          </p:nvSpPr>
          <p:spPr bwMode="gray">
            <a:xfrm>
              <a:off x="922338" y="2708275"/>
              <a:ext cx="377825" cy="473075"/>
            </a:xfrm>
            <a:custGeom>
              <a:avLst/>
              <a:gdLst/>
              <a:ahLst/>
              <a:cxnLst>
                <a:cxn ang="0">
                  <a:pos x="1229" y="665"/>
                </a:cxn>
                <a:cxn ang="0">
                  <a:pos x="1216" y="589"/>
                </a:cxn>
                <a:cxn ang="0">
                  <a:pos x="1194" y="517"/>
                </a:cxn>
                <a:cxn ang="0">
                  <a:pos x="1161" y="456"/>
                </a:cxn>
                <a:cxn ang="0">
                  <a:pos x="1117" y="404"/>
                </a:cxn>
                <a:cxn ang="0">
                  <a:pos x="1058" y="366"/>
                </a:cxn>
                <a:cxn ang="0">
                  <a:pos x="985" y="344"/>
                </a:cxn>
                <a:cxn ang="0">
                  <a:pos x="891" y="339"/>
                </a:cxn>
                <a:cxn ang="0">
                  <a:pos x="788" y="361"/>
                </a:cxn>
                <a:cxn ang="0">
                  <a:pos x="704" y="406"/>
                </a:cxn>
                <a:cxn ang="0">
                  <a:pos x="639" y="471"/>
                </a:cxn>
                <a:cxn ang="0">
                  <a:pos x="589" y="553"/>
                </a:cxn>
                <a:cxn ang="0">
                  <a:pos x="553" y="644"/>
                </a:cxn>
                <a:cxn ang="0">
                  <a:pos x="531" y="740"/>
                </a:cxn>
                <a:cxn ang="0">
                  <a:pos x="519" y="840"/>
                </a:cxn>
                <a:cxn ang="0">
                  <a:pos x="517" y="960"/>
                </a:cxn>
                <a:cxn ang="0">
                  <a:pos x="539" y="1147"/>
                </a:cxn>
                <a:cxn ang="0">
                  <a:pos x="588" y="1318"/>
                </a:cxn>
                <a:cxn ang="0">
                  <a:pos x="664" y="1471"/>
                </a:cxn>
                <a:cxn ang="0">
                  <a:pos x="767" y="1601"/>
                </a:cxn>
                <a:cxn ang="0">
                  <a:pos x="896" y="1707"/>
                </a:cxn>
                <a:cxn ang="0">
                  <a:pos x="1050" y="1784"/>
                </a:cxn>
                <a:cxn ang="0">
                  <a:pos x="1229" y="1828"/>
                </a:cxn>
                <a:cxn ang="0">
                  <a:pos x="1422" y="1838"/>
                </a:cxn>
                <a:cxn ang="0">
                  <a:pos x="1574" y="1826"/>
                </a:cxn>
                <a:cxn ang="0">
                  <a:pos x="1662" y="1810"/>
                </a:cxn>
                <a:cxn ang="0">
                  <a:pos x="1726" y="2088"/>
                </a:cxn>
                <a:cxn ang="0">
                  <a:pos x="1578" y="2131"/>
                </a:cxn>
                <a:cxn ang="0">
                  <a:pos x="1427" y="2161"/>
                </a:cxn>
                <a:cxn ang="0">
                  <a:pos x="1273" y="2179"/>
                </a:cxn>
                <a:cxn ang="0">
                  <a:pos x="1121" y="2185"/>
                </a:cxn>
                <a:cxn ang="0">
                  <a:pos x="858" y="2164"/>
                </a:cxn>
                <a:cxn ang="0">
                  <a:pos x="629" y="2102"/>
                </a:cxn>
                <a:cxn ang="0">
                  <a:pos x="436" y="2002"/>
                </a:cxn>
                <a:cxn ang="0">
                  <a:pos x="280" y="1864"/>
                </a:cxn>
                <a:cxn ang="0">
                  <a:pos x="157" y="1694"/>
                </a:cxn>
                <a:cxn ang="0">
                  <a:pos x="70" y="1491"/>
                </a:cxn>
                <a:cxn ang="0">
                  <a:pos x="18" y="1259"/>
                </a:cxn>
                <a:cxn ang="0">
                  <a:pos x="0" y="999"/>
                </a:cxn>
                <a:cxn ang="0">
                  <a:pos x="16" y="783"/>
                </a:cxn>
                <a:cxn ang="0">
                  <a:pos x="61" y="589"/>
                </a:cxn>
                <a:cxn ang="0">
                  <a:pos x="137" y="417"/>
                </a:cxn>
                <a:cxn ang="0">
                  <a:pos x="243" y="273"/>
                </a:cxn>
                <a:cxn ang="0">
                  <a:pos x="378" y="156"/>
                </a:cxn>
                <a:cxn ang="0">
                  <a:pos x="541" y="71"/>
                </a:cxn>
                <a:cxn ang="0">
                  <a:pos x="732" y="18"/>
                </a:cxn>
                <a:cxn ang="0">
                  <a:pos x="952" y="0"/>
                </a:cxn>
                <a:cxn ang="0">
                  <a:pos x="1134" y="12"/>
                </a:cxn>
                <a:cxn ang="0">
                  <a:pos x="1294" y="47"/>
                </a:cxn>
                <a:cxn ang="0">
                  <a:pos x="1431" y="106"/>
                </a:cxn>
                <a:cxn ang="0">
                  <a:pos x="1544" y="189"/>
                </a:cxn>
                <a:cxn ang="0">
                  <a:pos x="1634" y="297"/>
                </a:cxn>
                <a:cxn ang="0">
                  <a:pos x="1698" y="428"/>
                </a:cxn>
                <a:cxn ang="0">
                  <a:pos x="1737" y="585"/>
                </a:cxn>
                <a:cxn ang="0">
                  <a:pos x="1750" y="765"/>
                </a:cxn>
              </a:cxnLst>
              <a:rect l="0" t="0" r="r" b="b"/>
              <a:pathLst>
                <a:path w="1750" h="2185">
                  <a:moveTo>
                    <a:pt x="1234" y="765"/>
                  </a:moveTo>
                  <a:lnTo>
                    <a:pt x="1233" y="725"/>
                  </a:lnTo>
                  <a:lnTo>
                    <a:pt x="1231" y="685"/>
                  </a:lnTo>
                  <a:lnTo>
                    <a:pt x="1229" y="665"/>
                  </a:lnTo>
                  <a:lnTo>
                    <a:pt x="1226" y="646"/>
                  </a:lnTo>
                  <a:lnTo>
                    <a:pt x="1223" y="626"/>
                  </a:lnTo>
                  <a:lnTo>
                    <a:pt x="1220" y="607"/>
                  </a:lnTo>
                  <a:lnTo>
                    <a:pt x="1216" y="589"/>
                  </a:lnTo>
                  <a:lnTo>
                    <a:pt x="1211" y="571"/>
                  </a:lnTo>
                  <a:lnTo>
                    <a:pt x="1206" y="553"/>
                  </a:lnTo>
                  <a:lnTo>
                    <a:pt x="1200" y="535"/>
                  </a:lnTo>
                  <a:lnTo>
                    <a:pt x="1194" y="517"/>
                  </a:lnTo>
                  <a:lnTo>
                    <a:pt x="1187" y="501"/>
                  </a:lnTo>
                  <a:lnTo>
                    <a:pt x="1179" y="485"/>
                  </a:lnTo>
                  <a:lnTo>
                    <a:pt x="1171" y="470"/>
                  </a:lnTo>
                  <a:lnTo>
                    <a:pt x="1161" y="456"/>
                  </a:lnTo>
                  <a:lnTo>
                    <a:pt x="1151" y="442"/>
                  </a:lnTo>
                  <a:lnTo>
                    <a:pt x="1141" y="429"/>
                  </a:lnTo>
                  <a:lnTo>
                    <a:pt x="1129" y="416"/>
                  </a:lnTo>
                  <a:lnTo>
                    <a:pt x="1117" y="404"/>
                  </a:lnTo>
                  <a:lnTo>
                    <a:pt x="1103" y="394"/>
                  </a:lnTo>
                  <a:lnTo>
                    <a:pt x="1089" y="384"/>
                  </a:lnTo>
                  <a:lnTo>
                    <a:pt x="1074" y="375"/>
                  </a:lnTo>
                  <a:lnTo>
                    <a:pt x="1058" y="366"/>
                  </a:lnTo>
                  <a:lnTo>
                    <a:pt x="1041" y="359"/>
                  </a:lnTo>
                  <a:lnTo>
                    <a:pt x="1023" y="353"/>
                  </a:lnTo>
                  <a:lnTo>
                    <a:pt x="1004" y="348"/>
                  </a:lnTo>
                  <a:lnTo>
                    <a:pt x="985" y="344"/>
                  </a:lnTo>
                  <a:lnTo>
                    <a:pt x="964" y="341"/>
                  </a:lnTo>
                  <a:lnTo>
                    <a:pt x="942" y="339"/>
                  </a:lnTo>
                  <a:lnTo>
                    <a:pt x="919" y="338"/>
                  </a:lnTo>
                  <a:lnTo>
                    <a:pt x="891" y="339"/>
                  </a:lnTo>
                  <a:lnTo>
                    <a:pt x="863" y="342"/>
                  </a:lnTo>
                  <a:lnTo>
                    <a:pt x="837" y="347"/>
                  </a:lnTo>
                  <a:lnTo>
                    <a:pt x="812" y="353"/>
                  </a:lnTo>
                  <a:lnTo>
                    <a:pt x="788" y="361"/>
                  </a:lnTo>
                  <a:lnTo>
                    <a:pt x="765" y="370"/>
                  </a:lnTo>
                  <a:lnTo>
                    <a:pt x="744" y="381"/>
                  </a:lnTo>
                  <a:lnTo>
                    <a:pt x="723" y="393"/>
                  </a:lnTo>
                  <a:lnTo>
                    <a:pt x="704" y="406"/>
                  </a:lnTo>
                  <a:lnTo>
                    <a:pt x="686" y="421"/>
                  </a:lnTo>
                  <a:lnTo>
                    <a:pt x="669" y="437"/>
                  </a:lnTo>
                  <a:lnTo>
                    <a:pt x="653" y="453"/>
                  </a:lnTo>
                  <a:lnTo>
                    <a:pt x="639" y="471"/>
                  </a:lnTo>
                  <a:lnTo>
                    <a:pt x="625" y="490"/>
                  </a:lnTo>
                  <a:lnTo>
                    <a:pt x="612" y="510"/>
                  </a:lnTo>
                  <a:lnTo>
                    <a:pt x="600" y="531"/>
                  </a:lnTo>
                  <a:lnTo>
                    <a:pt x="589" y="553"/>
                  </a:lnTo>
                  <a:lnTo>
                    <a:pt x="579" y="575"/>
                  </a:lnTo>
                  <a:lnTo>
                    <a:pt x="569" y="597"/>
                  </a:lnTo>
                  <a:lnTo>
                    <a:pt x="561" y="620"/>
                  </a:lnTo>
                  <a:lnTo>
                    <a:pt x="553" y="644"/>
                  </a:lnTo>
                  <a:lnTo>
                    <a:pt x="547" y="667"/>
                  </a:lnTo>
                  <a:lnTo>
                    <a:pt x="541" y="692"/>
                  </a:lnTo>
                  <a:lnTo>
                    <a:pt x="535" y="716"/>
                  </a:lnTo>
                  <a:lnTo>
                    <a:pt x="531" y="740"/>
                  </a:lnTo>
                  <a:lnTo>
                    <a:pt x="527" y="765"/>
                  </a:lnTo>
                  <a:lnTo>
                    <a:pt x="524" y="790"/>
                  </a:lnTo>
                  <a:lnTo>
                    <a:pt x="521" y="815"/>
                  </a:lnTo>
                  <a:lnTo>
                    <a:pt x="519" y="840"/>
                  </a:lnTo>
                  <a:lnTo>
                    <a:pt x="518" y="864"/>
                  </a:lnTo>
                  <a:lnTo>
                    <a:pt x="517" y="888"/>
                  </a:lnTo>
                  <a:lnTo>
                    <a:pt x="517" y="911"/>
                  </a:lnTo>
                  <a:lnTo>
                    <a:pt x="517" y="960"/>
                  </a:lnTo>
                  <a:lnTo>
                    <a:pt x="520" y="1008"/>
                  </a:lnTo>
                  <a:lnTo>
                    <a:pt x="525" y="1055"/>
                  </a:lnTo>
                  <a:lnTo>
                    <a:pt x="531" y="1102"/>
                  </a:lnTo>
                  <a:lnTo>
                    <a:pt x="539" y="1147"/>
                  </a:lnTo>
                  <a:lnTo>
                    <a:pt x="548" y="1191"/>
                  </a:lnTo>
                  <a:lnTo>
                    <a:pt x="560" y="1235"/>
                  </a:lnTo>
                  <a:lnTo>
                    <a:pt x="573" y="1277"/>
                  </a:lnTo>
                  <a:lnTo>
                    <a:pt x="588" y="1318"/>
                  </a:lnTo>
                  <a:lnTo>
                    <a:pt x="604" y="1359"/>
                  </a:lnTo>
                  <a:lnTo>
                    <a:pt x="622" y="1398"/>
                  </a:lnTo>
                  <a:lnTo>
                    <a:pt x="642" y="1435"/>
                  </a:lnTo>
                  <a:lnTo>
                    <a:pt x="664" y="1471"/>
                  </a:lnTo>
                  <a:lnTo>
                    <a:pt x="687" y="1506"/>
                  </a:lnTo>
                  <a:lnTo>
                    <a:pt x="712" y="1539"/>
                  </a:lnTo>
                  <a:lnTo>
                    <a:pt x="739" y="1571"/>
                  </a:lnTo>
                  <a:lnTo>
                    <a:pt x="767" y="1601"/>
                  </a:lnTo>
                  <a:lnTo>
                    <a:pt x="797" y="1630"/>
                  </a:lnTo>
                  <a:lnTo>
                    <a:pt x="829" y="1658"/>
                  </a:lnTo>
                  <a:lnTo>
                    <a:pt x="862" y="1684"/>
                  </a:lnTo>
                  <a:lnTo>
                    <a:pt x="896" y="1707"/>
                  </a:lnTo>
                  <a:lnTo>
                    <a:pt x="932" y="1729"/>
                  </a:lnTo>
                  <a:lnTo>
                    <a:pt x="970" y="1749"/>
                  </a:lnTo>
                  <a:lnTo>
                    <a:pt x="1009" y="1767"/>
                  </a:lnTo>
                  <a:lnTo>
                    <a:pt x="1050" y="1784"/>
                  </a:lnTo>
                  <a:lnTo>
                    <a:pt x="1093" y="1798"/>
                  </a:lnTo>
                  <a:lnTo>
                    <a:pt x="1137" y="1810"/>
                  </a:lnTo>
                  <a:lnTo>
                    <a:pt x="1182" y="1820"/>
                  </a:lnTo>
                  <a:lnTo>
                    <a:pt x="1229" y="1828"/>
                  </a:lnTo>
                  <a:lnTo>
                    <a:pt x="1277" y="1834"/>
                  </a:lnTo>
                  <a:lnTo>
                    <a:pt x="1327" y="1837"/>
                  </a:lnTo>
                  <a:lnTo>
                    <a:pt x="1379" y="1838"/>
                  </a:lnTo>
                  <a:lnTo>
                    <a:pt x="1422" y="1838"/>
                  </a:lnTo>
                  <a:lnTo>
                    <a:pt x="1465" y="1836"/>
                  </a:lnTo>
                  <a:lnTo>
                    <a:pt x="1508" y="1834"/>
                  </a:lnTo>
                  <a:lnTo>
                    <a:pt x="1552" y="1829"/>
                  </a:lnTo>
                  <a:lnTo>
                    <a:pt x="1574" y="1826"/>
                  </a:lnTo>
                  <a:lnTo>
                    <a:pt x="1596" y="1823"/>
                  </a:lnTo>
                  <a:lnTo>
                    <a:pt x="1619" y="1819"/>
                  </a:lnTo>
                  <a:lnTo>
                    <a:pt x="1640" y="1815"/>
                  </a:lnTo>
                  <a:lnTo>
                    <a:pt x="1662" y="1810"/>
                  </a:lnTo>
                  <a:lnTo>
                    <a:pt x="1683" y="1804"/>
                  </a:lnTo>
                  <a:lnTo>
                    <a:pt x="1705" y="1797"/>
                  </a:lnTo>
                  <a:lnTo>
                    <a:pt x="1726" y="1790"/>
                  </a:lnTo>
                  <a:lnTo>
                    <a:pt x="1726" y="2088"/>
                  </a:lnTo>
                  <a:lnTo>
                    <a:pt x="1690" y="2100"/>
                  </a:lnTo>
                  <a:lnTo>
                    <a:pt x="1653" y="2111"/>
                  </a:lnTo>
                  <a:lnTo>
                    <a:pt x="1616" y="2121"/>
                  </a:lnTo>
                  <a:lnTo>
                    <a:pt x="1578" y="2131"/>
                  </a:lnTo>
                  <a:lnTo>
                    <a:pt x="1540" y="2139"/>
                  </a:lnTo>
                  <a:lnTo>
                    <a:pt x="1502" y="2147"/>
                  </a:lnTo>
                  <a:lnTo>
                    <a:pt x="1465" y="2154"/>
                  </a:lnTo>
                  <a:lnTo>
                    <a:pt x="1427" y="2161"/>
                  </a:lnTo>
                  <a:lnTo>
                    <a:pt x="1389" y="2166"/>
                  </a:lnTo>
                  <a:lnTo>
                    <a:pt x="1350" y="2171"/>
                  </a:lnTo>
                  <a:lnTo>
                    <a:pt x="1311" y="2176"/>
                  </a:lnTo>
                  <a:lnTo>
                    <a:pt x="1273" y="2179"/>
                  </a:lnTo>
                  <a:lnTo>
                    <a:pt x="1235" y="2182"/>
                  </a:lnTo>
                  <a:lnTo>
                    <a:pt x="1197" y="2183"/>
                  </a:lnTo>
                  <a:lnTo>
                    <a:pt x="1159" y="2185"/>
                  </a:lnTo>
                  <a:lnTo>
                    <a:pt x="1121" y="2185"/>
                  </a:lnTo>
                  <a:lnTo>
                    <a:pt x="1051" y="2184"/>
                  </a:lnTo>
                  <a:lnTo>
                    <a:pt x="985" y="2180"/>
                  </a:lnTo>
                  <a:lnTo>
                    <a:pt x="920" y="2173"/>
                  </a:lnTo>
                  <a:lnTo>
                    <a:pt x="858" y="2164"/>
                  </a:lnTo>
                  <a:lnTo>
                    <a:pt x="798" y="2152"/>
                  </a:lnTo>
                  <a:lnTo>
                    <a:pt x="739" y="2138"/>
                  </a:lnTo>
                  <a:lnTo>
                    <a:pt x="683" y="2121"/>
                  </a:lnTo>
                  <a:lnTo>
                    <a:pt x="629" y="2102"/>
                  </a:lnTo>
                  <a:lnTo>
                    <a:pt x="578" y="2081"/>
                  </a:lnTo>
                  <a:lnTo>
                    <a:pt x="529" y="2057"/>
                  </a:lnTo>
                  <a:lnTo>
                    <a:pt x="481" y="2030"/>
                  </a:lnTo>
                  <a:lnTo>
                    <a:pt x="436" y="2002"/>
                  </a:lnTo>
                  <a:lnTo>
                    <a:pt x="394" y="1971"/>
                  </a:lnTo>
                  <a:lnTo>
                    <a:pt x="354" y="1938"/>
                  </a:lnTo>
                  <a:lnTo>
                    <a:pt x="315" y="1902"/>
                  </a:lnTo>
                  <a:lnTo>
                    <a:pt x="280" y="1864"/>
                  </a:lnTo>
                  <a:lnTo>
                    <a:pt x="246" y="1825"/>
                  </a:lnTo>
                  <a:lnTo>
                    <a:pt x="213" y="1783"/>
                  </a:lnTo>
                  <a:lnTo>
                    <a:pt x="184" y="1740"/>
                  </a:lnTo>
                  <a:lnTo>
                    <a:pt x="157" y="1694"/>
                  </a:lnTo>
                  <a:lnTo>
                    <a:pt x="132" y="1647"/>
                  </a:lnTo>
                  <a:lnTo>
                    <a:pt x="109" y="1596"/>
                  </a:lnTo>
                  <a:lnTo>
                    <a:pt x="88" y="1545"/>
                  </a:lnTo>
                  <a:lnTo>
                    <a:pt x="70" y="1491"/>
                  </a:lnTo>
                  <a:lnTo>
                    <a:pt x="53" y="1436"/>
                  </a:lnTo>
                  <a:lnTo>
                    <a:pt x="39" y="1379"/>
                  </a:lnTo>
                  <a:lnTo>
                    <a:pt x="27" y="1319"/>
                  </a:lnTo>
                  <a:lnTo>
                    <a:pt x="18" y="1259"/>
                  </a:lnTo>
                  <a:lnTo>
                    <a:pt x="10" y="1197"/>
                  </a:lnTo>
                  <a:lnTo>
                    <a:pt x="5" y="1133"/>
                  </a:lnTo>
                  <a:lnTo>
                    <a:pt x="1" y="1067"/>
                  </a:lnTo>
                  <a:lnTo>
                    <a:pt x="0" y="999"/>
                  </a:lnTo>
                  <a:lnTo>
                    <a:pt x="1" y="944"/>
                  </a:lnTo>
                  <a:lnTo>
                    <a:pt x="4" y="889"/>
                  </a:lnTo>
                  <a:lnTo>
                    <a:pt x="9" y="836"/>
                  </a:lnTo>
                  <a:lnTo>
                    <a:pt x="16" y="783"/>
                  </a:lnTo>
                  <a:lnTo>
                    <a:pt x="24" y="732"/>
                  </a:lnTo>
                  <a:lnTo>
                    <a:pt x="35" y="683"/>
                  </a:lnTo>
                  <a:lnTo>
                    <a:pt x="47" y="635"/>
                  </a:lnTo>
                  <a:lnTo>
                    <a:pt x="61" y="589"/>
                  </a:lnTo>
                  <a:lnTo>
                    <a:pt x="78" y="544"/>
                  </a:lnTo>
                  <a:lnTo>
                    <a:pt x="96" y="499"/>
                  </a:lnTo>
                  <a:lnTo>
                    <a:pt x="115" y="458"/>
                  </a:lnTo>
                  <a:lnTo>
                    <a:pt x="137" y="417"/>
                  </a:lnTo>
                  <a:lnTo>
                    <a:pt x="161" y="379"/>
                  </a:lnTo>
                  <a:lnTo>
                    <a:pt x="186" y="342"/>
                  </a:lnTo>
                  <a:lnTo>
                    <a:pt x="213" y="307"/>
                  </a:lnTo>
                  <a:lnTo>
                    <a:pt x="243" y="273"/>
                  </a:lnTo>
                  <a:lnTo>
                    <a:pt x="274" y="242"/>
                  </a:lnTo>
                  <a:lnTo>
                    <a:pt x="307" y="211"/>
                  </a:lnTo>
                  <a:lnTo>
                    <a:pt x="341" y="183"/>
                  </a:lnTo>
                  <a:lnTo>
                    <a:pt x="378" y="156"/>
                  </a:lnTo>
                  <a:lnTo>
                    <a:pt x="416" y="132"/>
                  </a:lnTo>
                  <a:lnTo>
                    <a:pt x="455" y="110"/>
                  </a:lnTo>
                  <a:lnTo>
                    <a:pt x="497" y="89"/>
                  </a:lnTo>
                  <a:lnTo>
                    <a:pt x="541" y="71"/>
                  </a:lnTo>
                  <a:lnTo>
                    <a:pt x="586" y="55"/>
                  </a:lnTo>
                  <a:lnTo>
                    <a:pt x="633" y="40"/>
                  </a:lnTo>
                  <a:lnTo>
                    <a:pt x="682" y="28"/>
                  </a:lnTo>
                  <a:lnTo>
                    <a:pt x="732" y="18"/>
                  </a:lnTo>
                  <a:lnTo>
                    <a:pt x="785" y="10"/>
                  </a:lnTo>
                  <a:lnTo>
                    <a:pt x="839" y="5"/>
                  </a:lnTo>
                  <a:lnTo>
                    <a:pt x="894" y="1"/>
                  </a:lnTo>
                  <a:lnTo>
                    <a:pt x="952" y="0"/>
                  </a:lnTo>
                  <a:lnTo>
                    <a:pt x="999" y="1"/>
                  </a:lnTo>
                  <a:lnTo>
                    <a:pt x="1045" y="3"/>
                  </a:lnTo>
                  <a:lnTo>
                    <a:pt x="1091" y="7"/>
                  </a:lnTo>
                  <a:lnTo>
                    <a:pt x="1134" y="12"/>
                  </a:lnTo>
                  <a:lnTo>
                    <a:pt x="1176" y="18"/>
                  </a:lnTo>
                  <a:lnTo>
                    <a:pt x="1217" y="26"/>
                  </a:lnTo>
                  <a:lnTo>
                    <a:pt x="1256" y="36"/>
                  </a:lnTo>
                  <a:lnTo>
                    <a:pt x="1294" y="47"/>
                  </a:lnTo>
                  <a:lnTo>
                    <a:pt x="1330" y="59"/>
                  </a:lnTo>
                  <a:lnTo>
                    <a:pt x="1366" y="74"/>
                  </a:lnTo>
                  <a:lnTo>
                    <a:pt x="1399" y="89"/>
                  </a:lnTo>
                  <a:lnTo>
                    <a:pt x="1431" y="106"/>
                  </a:lnTo>
                  <a:lnTo>
                    <a:pt x="1462" y="124"/>
                  </a:lnTo>
                  <a:lnTo>
                    <a:pt x="1491" y="144"/>
                  </a:lnTo>
                  <a:lnTo>
                    <a:pt x="1518" y="166"/>
                  </a:lnTo>
                  <a:lnTo>
                    <a:pt x="1544" y="189"/>
                  </a:lnTo>
                  <a:lnTo>
                    <a:pt x="1569" y="213"/>
                  </a:lnTo>
                  <a:lnTo>
                    <a:pt x="1592" y="240"/>
                  </a:lnTo>
                  <a:lnTo>
                    <a:pt x="1613" y="268"/>
                  </a:lnTo>
                  <a:lnTo>
                    <a:pt x="1634" y="297"/>
                  </a:lnTo>
                  <a:lnTo>
                    <a:pt x="1652" y="327"/>
                  </a:lnTo>
                  <a:lnTo>
                    <a:pt x="1669" y="359"/>
                  </a:lnTo>
                  <a:lnTo>
                    <a:pt x="1684" y="393"/>
                  </a:lnTo>
                  <a:lnTo>
                    <a:pt x="1698" y="428"/>
                  </a:lnTo>
                  <a:lnTo>
                    <a:pt x="1710" y="465"/>
                  </a:lnTo>
                  <a:lnTo>
                    <a:pt x="1721" y="503"/>
                  </a:lnTo>
                  <a:lnTo>
                    <a:pt x="1730" y="544"/>
                  </a:lnTo>
                  <a:lnTo>
                    <a:pt x="1737" y="585"/>
                  </a:lnTo>
                  <a:lnTo>
                    <a:pt x="1743" y="628"/>
                  </a:lnTo>
                  <a:lnTo>
                    <a:pt x="1747" y="672"/>
                  </a:lnTo>
                  <a:lnTo>
                    <a:pt x="1749" y="718"/>
                  </a:lnTo>
                  <a:lnTo>
                    <a:pt x="1750" y="765"/>
                  </a:lnTo>
                  <a:lnTo>
                    <a:pt x="1234" y="76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  <a:cs typeface="+mn-cs"/>
              </a:endParaRPr>
            </a:p>
          </p:txBody>
        </p:sp>
        <p:sp>
          <p:nvSpPr>
            <p:cNvPr id="10" name="Freeform 6"/>
            <p:cNvSpPr>
              <a:spLocks/>
            </p:cNvSpPr>
            <p:nvPr/>
          </p:nvSpPr>
          <p:spPr bwMode="gray">
            <a:xfrm>
              <a:off x="1327150" y="2708275"/>
              <a:ext cx="377825" cy="473075"/>
            </a:xfrm>
            <a:custGeom>
              <a:avLst/>
              <a:gdLst/>
              <a:ahLst/>
              <a:cxnLst>
                <a:cxn ang="0">
                  <a:pos x="1229" y="665"/>
                </a:cxn>
                <a:cxn ang="0">
                  <a:pos x="1216" y="589"/>
                </a:cxn>
                <a:cxn ang="0">
                  <a:pos x="1194" y="517"/>
                </a:cxn>
                <a:cxn ang="0">
                  <a:pos x="1162" y="456"/>
                </a:cxn>
                <a:cxn ang="0">
                  <a:pos x="1116" y="404"/>
                </a:cxn>
                <a:cxn ang="0">
                  <a:pos x="1058" y="366"/>
                </a:cxn>
                <a:cxn ang="0">
                  <a:pos x="985" y="344"/>
                </a:cxn>
                <a:cxn ang="0">
                  <a:pos x="892" y="339"/>
                </a:cxn>
                <a:cxn ang="0">
                  <a:pos x="790" y="361"/>
                </a:cxn>
                <a:cxn ang="0">
                  <a:pos x="708" y="406"/>
                </a:cxn>
                <a:cxn ang="0">
                  <a:pos x="642" y="471"/>
                </a:cxn>
                <a:cxn ang="0">
                  <a:pos x="592" y="553"/>
                </a:cxn>
                <a:cxn ang="0">
                  <a:pos x="555" y="644"/>
                </a:cxn>
                <a:cxn ang="0">
                  <a:pos x="531" y="740"/>
                </a:cxn>
                <a:cxn ang="0">
                  <a:pos x="519" y="840"/>
                </a:cxn>
                <a:cxn ang="0">
                  <a:pos x="517" y="960"/>
                </a:cxn>
                <a:cxn ang="0">
                  <a:pos x="538" y="1147"/>
                </a:cxn>
                <a:cxn ang="0">
                  <a:pos x="588" y="1318"/>
                </a:cxn>
                <a:cxn ang="0">
                  <a:pos x="664" y="1471"/>
                </a:cxn>
                <a:cxn ang="0">
                  <a:pos x="767" y="1601"/>
                </a:cxn>
                <a:cxn ang="0">
                  <a:pos x="897" y="1707"/>
                </a:cxn>
                <a:cxn ang="0">
                  <a:pos x="1050" y="1784"/>
                </a:cxn>
                <a:cxn ang="0">
                  <a:pos x="1229" y="1828"/>
                </a:cxn>
                <a:cxn ang="0">
                  <a:pos x="1425" y="1838"/>
                </a:cxn>
                <a:cxn ang="0">
                  <a:pos x="1577" y="1826"/>
                </a:cxn>
                <a:cxn ang="0">
                  <a:pos x="1662" y="1810"/>
                </a:cxn>
                <a:cxn ang="0">
                  <a:pos x="1726" y="2088"/>
                </a:cxn>
                <a:cxn ang="0">
                  <a:pos x="1578" y="2131"/>
                </a:cxn>
                <a:cxn ang="0">
                  <a:pos x="1427" y="2161"/>
                </a:cxn>
                <a:cxn ang="0">
                  <a:pos x="1273" y="2179"/>
                </a:cxn>
                <a:cxn ang="0">
                  <a:pos x="1121" y="2185"/>
                </a:cxn>
                <a:cxn ang="0">
                  <a:pos x="858" y="2164"/>
                </a:cxn>
                <a:cxn ang="0">
                  <a:pos x="630" y="2102"/>
                </a:cxn>
                <a:cxn ang="0">
                  <a:pos x="437" y="2002"/>
                </a:cxn>
                <a:cxn ang="0">
                  <a:pos x="279" y="1864"/>
                </a:cxn>
                <a:cxn ang="0">
                  <a:pos x="157" y="1694"/>
                </a:cxn>
                <a:cxn ang="0">
                  <a:pos x="70" y="1491"/>
                </a:cxn>
                <a:cxn ang="0">
                  <a:pos x="17" y="1259"/>
                </a:cxn>
                <a:cxn ang="0">
                  <a:pos x="0" y="999"/>
                </a:cxn>
                <a:cxn ang="0">
                  <a:pos x="15" y="783"/>
                </a:cxn>
                <a:cxn ang="0">
                  <a:pos x="62" y="589"/>
                </a:cxn>
                <a:cxn ang="0">
                  <a:pos x="138" y="417"/>
                </a:cxn>
                <a:cxn ang="0">
                  <a:pos x="244" y="273"/>
                </a:cxn>
                <a:cxn ang="0">
                  <a:pos x="380" y="156"/>
                </a:cxn>
                <a:cxn ang="0">
                  <a:pos x="544" y="71"/>
                </a:cxn>
                <a:cxn ang="0">
                  <a:pos x="738" y="18"/>
                </a:cxn>
                <a:cxn ang="0">
                  <a:pos x="960" y="0"/>
                </a:cxn>
                <a:cxn ang="0">
                  <a:pos x="1140" y="12"/>
                </a:cxn>
                <a:cxn ang="0">
                  <a:pos x="1298" y="47"/>
                </a:cxn>
                <a:cxn ang="0">
                  <a:pos x="1434" y="106"/>
                </a:cxn>
                <a:cxn ang="0">
                  <a:pos x="1546" y="189"/>
                </a:cxn>
                <a:cxn ang="0">
                  <a:pos x="1634" y="297"/>
                </a:cxn>
                <a:cxn ang="0">
                  <a:pos x="1699" y="428"/>
                </a:cxn>
                <a:cxn ang="0">
                  <a:pos x="1737" y="585"/>
                </a:cxn>
                <a:cxn ang="0">
                  <a:pos x="1751" y="765"/>
                </a:cxn>
              </a:cxnLst>
              <a:rect l="0" t="0" r="r" b="b"/>
              <a:pathLst>
                <a:path w="1751" h="2185">
                  <a:moveTo>
                    <a:pt x="1234" y="765"/>
                  </a:moveTo>
                  <a:lnTo>
                    <a:pt x="1233" y="725"/>
                  </a:lnTo>
                  <a:lnTo>
                    <a:pt x="1231" y="685"/>
                  </a:lnTo>
                  <a:lnTo>
                    <a:pt x="1229" y="665"/>
                  </a:lnTo>
                  <a:lnTo>
                    <a:pt x="1227" y="646"/>
                  </a:lnTo>
                  <a:lnTo>
                    <a:pt x="1224" y="626"/>
                  </a:lnTo>
                  <a:lnTo>
                    <a:pt x="1220" y="607"/>
                  </a:lnTo>
                  <a:lnTo>
                    <a:pt x="1216" y="589"/>
                  </a:lnTo>
                  <a:lnTo>
                    <a:pt x="1212" y="571"/>
                  </a:lnTo>
                  <a:lnTo>
                    <a:pt x="1206" y="553"/>
                  </a:lnTo>
                  <a:lnTo>
                    <a:pt x="1201" y="535"/>
                  </a:lnTo>
                  <a:lnTo>
                    <a:pt x="1194" y="517"/>
                  </a:lnTo>
                  <a:lnTo>
                    <a:pt x="1187" y="501"/>
                  </a:lnTo>
                  <a:lnTo>
                    <a:pt x="1179" y="485"/>
                  </a:lnTo>
                  <a:lnTo>
                    <a:pt x="1171" y="470"/>
                  </a:lnTo>
                  <a:lnTo>
                    <a:pt x="1162" y="456"/>
                  </a:lnTo>
                  <a:lnTo>
                    <a:pt x="1152" y="442"/>
                  </a:lnTo>
                  <a:lnTo>
                    <a:pt x="1141" y="429"/>
                  </a:lnTo>
                  <a:lnTo>
                    <a:pt x="1129" y="416"/>
                  </a:lnTo>
                  <a:lnTo>
                    <a:pt x="1116" y="404"/>
                  </a:lnTo>
                  <a:lnTo>
                    <a:pt x="1103" y="394"/>
                  </a:lnTo>
                  <a:lnTo>
                    <a:pt x="1089" y="384"/>
                  </a:lnTo>
                  <a:lnTo>
                    <a:pt x="1074" y="375"/>
                  </a:lnTo>
                  <a:lnTo>
                    <a:pt x="1058" y="366"/>
                  </a:lnTo>
                  <a:lnTo>
                    <a:pt x="1041" y="359"/>
                  </a:lnTo>
                  <a:lnTo>
                    <a:pt x="1023" y="353"/>
                  </a:lnTo>
                  <a:lnTo>
                    <a:pt x="1005" y="348"/>
                  </a:lnTo>
                  <a:lnTo>
                    <a:pt x="985" y="344"/>
                  </a:lnTo>
                  <a:lnTo>
                    <a:pt x="964" y="341"/>
                  </a:lnTo>
                  <a:lnTo>
                    <a:pt x="943" y="339"/>
                  </a:lnTo>
                  <a:lnTo>
                    <a:pt x="920" y="338"/>
                  </a:lnTo>
                  <a:lnTo>
                    <a:pt x="892" y="339"/>
                  </a:lnTo>
                  <a:lnTo>
                    <a:pt x="865" y="342"/>
                  </a:lnTo>
                  <a:lnTo>
                    <a:pt x="838" y="347"/>
                  </a:lnTo>
                  <a:lnTo>
                    <a:pt x="814" y="353"/>
                  </a:lnTo>
                  <a:lnTo>
                    <a:pt x="790" y="361"/>
                  </a:lnTo>
                  <a:lnTo>
                    <a:pt x="768" y="370"/>
                  </a:lnTo>
                  <a:lnTo>
                    <a:pt x="747" y="381"/>
                  </a:lnTo>
                  <a:lnTo>
                    <a:pt x="727" y="393"/>
                  </a:lnTo>
                  <a:lnTo>
                    <a:pt x="708" y="406"/>
                  </a:lnTo>
                  <a:lnTo>
                    <a:pt x="690" y="421"/>
                  </a:lnTo>
                  <a:lnTo>
                    <a:pt x="673" y="437"/>
                  </a:lnTo>
                  <a:lnTo>
                    <a:pt x="657" y="453"/>
                  </a:lnTo>
                  <a:lnTo>
                    <a:pt x="642" y="471"/>
                  </a:lnTo>
                  <a:lnTo>
                    <a:pt x="628" y="490"/>
                  </a:lnTo>
                  <a:lnTo>
                    <a:pt x="615" y="510"/>
                  </a:lnTo>
                  <a:lnTo>
                    <a:pt x="603" y="531"/>
                  </a:lnTo>
                  <a:lnTo>
                    <a:pt x="592" y="553"/>
                  </a:lnTo>
                  <a:lnTo>
                    <a:pt x="582" y="575"/>
                  </a:lnTo>
                  <a:lnTo>
                    <a:pt x="571" y="597"/>
                  </a:lnTo>
                  <a:lnTo>
                    <a:pt x="563" y="620"/>
                  </a:lnTo>
                  <a:lnTo>
                    <a:pt x="555" y="644"/>
                  </a:lnTo>
                  <a:lnTo>
                    <a:pt x="548" y="667"/>
                  </a:lnTo>
                  <a:lnTo>
                    <a:pt x="541" y="692"/>
                  </a:lnTo>
                  <a:lnTo>
                    <a:pt x="536" y="716"/>
                  </a:lnTo>
                  <a:lnTo>
                    <a:pt x="531" y="740"/>
                  </a:lnTo>
                  <a:lnTo>
                    <a:pt x="527" y="765"/>
                  </a:lnTo>
                  <a:lnTo>
                    <a:pt x="523" y="790"/>
                  </a:lnTo>
                  <a:lnTo>
                    <a:pt x="521" y="815"/>
                  </a:lnTo>
                  <a:lnTo>
                    <a:pt x="519" y="840"/>
                  </a:lnTo>
                  <a:lnTo>
                    <a:pt x="517" y="864"/>
                  </a:lnTo>
                  <a:lnTo>
                    <a:pt x="516" y="888"/>
                  </a:lnTo>
                  <a:lnTo>
                    <a:pt x="516" y="911"/>
                  </a:lnTo>
                  <a:lnTo>
                    <a:pt x="517" y="960"/>
                  </a:lnTo>
                  <a:lnTo>
                    <a:pt x="520" y="1008"/>
                  </a:lnTo>
                  <a:lnTo>
                    <a:pt x="524" y="1055"/>
                  </a:lnTo>
                  <a:lnTo>
                    <a:pt x="530" y="1102"/>
                  </a:lnTo>
                  <a:lnTo>
                    <a:pt x="538" y="1147"/>
                  </a:lnTo>
                  <a:lnTo>
                    <a:pt x="548" y="1191"/>
                  </a:lnTo>
                  <a:lnTo>
                    <a:pt x="559" y="1235"/>
                  </a:lnTo>
                  <a:lnTo>
                    <a:pt x="572" y="1277"/>
                  </a:lnTo>
                  <a:lnTo>
                    <a:pt x="588" y="1318"/>
                  </a:lnTo>
                  <a:lnTo>
                    <a:pt x="605" y="1359"/>
                  </a:lnTo>
                  <a:lnTo>
                    <a:pt x="623" y="1398"/>
                  </a:lnTo>
                  <a:lnTo>
                    <a:pt x="643" y="1435"/>
                  </a:lnTo>
                  <a:lnTo>
                    <a:pt x="664" y="1471"/>
                  </a:lnTo>
                  <a:lnTo>
                    <a:pt x="688" y="1506"/>
                  </a:lnTo>
                  <a:lnTo>
                    <a:pt x="712" y="1539"/>
                  </a:lnTo>
                  <a:lnTo>
                    <a:pt x="739" y="1571"/>
                  </a:lnTo>
                  <a:lnTo>
                    <a:pt x="767" y="1601"/>
                  </a:lnTo>
                  <a:lnTo>
                    <a:pt x="797" y="1630"/>
                  </a:lnTo>
                  <a:lnTo>
                    <a:pt x="828" y="1658"/>
                  </a:lnTo>
                  <a:lnTo>
                    <a:pt x="862" y="1684"/>
                  </a:lnTo>
                  <a:lnTo>
                    <a:pt x="897" y="1707"/>
                  </a:lnTo>
                  <a:lnTo>
                    <a:pt x="933" y="1729"/>
                  </a:lnTo>
                  <a:lnTo>
                    <a:pt x="970" y="1749"/>
                  </a:lnTo>
                  <a:lnTo>
                    <a:pt x="1010" y="1767"/>
                  </a:lnTo>
                  <a:lnTo>
                    <a:pt x="1050" y="1784"/>
                  </a:lnTo>
                  <a:lnTo>
                    <a:pt x="1093" y="1798"/>
                  </a:lnTo>
                  <a:lnTo>
                    <a:pt x="1137" y="1810"/>
                  </a:lnTo>
                  <a:lnTo>
                    <a:pt x="1183" y="1820"/>
                  </a:lnTo>
                  <a:lnTo>
                    <a:pt x="1229" y="1828"/>
                  </a:lnTo>
                  <a:lnTo>
                    <a:pt x="1278" y="1834"/>
                  </a:lnTo>
                  <a:lnTo>
                    <a:pt x="1328" y="1837"/>
                  </a:lnTo>
                  <a:lnTo>
                    <a:pt x="1379" y="1838"/>
                  </a:lnTo>
                  <a:lnTo>
                    <a:pt x="1425" y="1838"/>
                  </a:lnTo>
                  <a:lnTo>
                    <a:pt x="1469" y="1836"/>
                  </a:lnTo>
                  <a:lnTo>
                    <a:pt x="1512" y="1834"/>
                  </a:lnTo>
                  <a:lnTo>
                    <a:pt x="1556" y="1829"/>
                  </a:lnTo>
                  <a:lnTo>
                    <a:pt x="1577" y="1826"/>
                  </a:lnTo>
                  <a:lnTo>
                    <a:pt x="1598" y="1823"/>
                  </a:lnTo>
                  <a:lnTo>
                    <a:pt x="1620" y="1819"/>
                  </a:lnTo>
                  <a:lnTo>
                    <a:pt x="1641" y="1815"/>
                  </a:lnTo>
                  <a:lnTo>
                    <a:pt x="1662" y="1810"/>
                  </a:lnTo>
                  <a:lnTo>
                    <a:pt x="1684" y="1804"/>
                  </a:lnTo>
                  <a:lnTo>
                    <a:pt x="1705" y="1797"/>
                  </a:lnTo>
                  <a:lnTo>
                    <a:pt x="1726" y="1790"/>
                  </a:lnTo>
                  <a:lnTo>
                    <a:pt x="1726" y="2088"/>
                  </a:lnTo>
                  <a:lnTo>
                    <a:pt x="1690" y="2100"/>
                  </a:lnTo>
                  <a:lnTo>
                    <a:pt x="1652" y="2111"/>
                  </a:lnTo>
                  <a:lnTo>
                    <a:pt x="1615" y="2121"/>
                  </a:lnTo>
                  <a:lnTo>
                    <a:pt x="1578" y="2131"/>
                  </a:lnTo>
                  <a:lnTo>
                    <a:pt x="1541" y="2139"/>
                  </a:lnTo>
                  <a:lnTo>
                    <a:pt x="1503" y="2147"/>
                  </a:lnTo>
                  <a:lnTo>
                    <a:pt x="1465" y="2154"/>
                  </a:lnTo>
                  <a:lnTo>
                    <a:pt x="1427" y="2161"/>
                  </a:lnTo>
                  <a:lnTo>
                    <a:pt x="1388" y="2166"/>
                  </a:lnTo>
                  <a:lnTo>
                    <a:pt x="1350" y="2171"/>
                  </a:lnTo>
                  <a:lnTo>
                    <a:pt x="1312" y="2176"/>
                  </a:lnTo>
                  <a:lnTo>
                    <a:pt x="1273" y="2179"/>
                  </a:lnTo>
                  <a:lnTo>
                    <a:pt x="1235" y="2182"/>
                  </a:lnTo>
                  <a:lnTo>
                    <a:pt x="1197" y="2183"/>
                  </a:lnTo>
                  <a:lnTo>
                    <a:pt x="1159" y="2185"/>
                  </a:lnTo>
                  <a:lnTo>
                    <a:pt x="1121" y="2185"/>
                  </a:lnTo>
                  <a:lnTo>
                    <a:pt x="1052" y="2184"/>
                  </a:lnTo>
                  <a:lnTo>
                    <a:pt x="985" y="2180"/>
                  </a:lnTo>
                  <a:lnTo>
                    <a:pt x="920" y="2173"/>
                  </a:lnTo>
                  <a:lnTo>
                    <a:pt x="858" y="2164"/>
                  </a:lnTo>
                  <a:lnTo>
                    <a:pt x="797" y="2152"/>
                  </a:lnTo>
                  <a:lnTo>
                    <a:pt x="739" y="2138"/>
                  </a:lnTo>
                  <a:lnTo>
                    <a:pt x="683" y="2121"/>
                  </a:lnTo>
                  <a:lnTo>
                    <a:pt x="630" y="2102"/>
                  </a:lnTo>
                  <a:lnTo>
                    <a:pt x="578" y="2081"/>
                  </a:lnTo>
                  <a:lnTo>
                    <a:pt x="528" y="2057"/>
                  </a:lnTo>
                  <a:lnTo>
                    <a:pt x="481" y="2030"/>
                  </a:lnTo>
                  <a:lnTo>
                    <a:pt x="437" y="2002"/>
                  </a:lnTo>
                  <a:lnTo>
                    <a:pt x="394" y="1971"/>
                  </a:lnTo>
                  <a:lnTo>
                    <a:pt x="354" y="1938"/>
                  </a:lnTo>
                  <a:lnTo>
                    <a:pt x="316" y="1902"/>
                  </a:lnTo>
                  <a:lnTo>
                    <a:pt x="279" y="1864"/>
                  </a:lnTo>
                  <a:lnTo>
                    <a:pt x="245" y="1825"/>
                  </a:lnTo>
                  <a:lnTo>
                    <a:pt x="214" y="1783"/>
                  </a:lnTo>
                  <a:lnTo>
                    <a:pt x="184" y="1740"/>
                  </a:lnTo>
                  <a:lnTo>
                    <a:pt x="157" y="1694"/>
                  </a:lnTo>
                  <a:lnTo>
                    <a:pt x="132" y="1647"/>
                  </a:lnTo>
                  <a:lnTo>
                    <a:pt x="109" y="1596"/>
                  </a:lnTo>
                  <a:lnTo>
                    <a:pt x="88" y="1545"/>
                  </a:lnTo>
                  <a:lnTo>
                    <a:pt x="70" y="1491"/>
                  </a:lnTo>
                  <a:lnTo>
                    <a:pt x="54" y="1436"/>
                  </a:lnTo>
                  <a:lnTo>
                    <a:pt x="40" y="1379"/>
                  </a:lnTo>
                  <a:lnTo>
                    <a:pt x="28" y="1319"/>
                  </a:lnTo>
                  <a:lnTo>
                    <a:pt x="17" y="1259"/>
                  </a:lnTo>
                  <a:lnTo>
                    <a:pt x="9" y="1197"/>
                  </a:lnTo>
                  <a:lnTo>
                    <a:pt x="4" y="1133"/>
                  </a:lnTo>
                  <a:lnTo>
                    <a:pt x="1" y="1067"/>
                  </a:lnTo>
                  <a:lnTo>
                    <a:pt x="0" y="999"/>
                  </a:lnTo>
                  <a:lnTo>
                    <a:pt x="1" y="944"/>
                  </a:lnTo>
                  <a:lnTo>
                    <a:pt x="3" y="889"/>
                  </a:lnTo>
                  <a:lnTo>
                    <a:pt x="8" y="836"/>
                  </a:lnTo>
                  <a:lnTo>
                    <a:pt x="15" y="783"/>
                  </a:lnTo>
                  <a:lnTo>
                    <a:pt x="25" y="732"/>
                  </a:lnTo>
                  <a:lnTo>
                    <a:pt x="35" y="683"/>
                  </a:lnTo>
                  <a:lnTo>
                    <a:pt x="48" y="635"/>
                  </a:lnTo>
                  <a:lnTo>
                    <a:pt x="62" y="589"/>
                  </a:lnTo>
                  <a:lnTo>
                    <a:pt x="78" y="544"/>
                  </a:lnTo>
                  <a:lnTo>
                    <a:pt x="96" y="499"/>
                  </a:lnTo>
                  <a:lnTo>
                    <a:pt x="116" y="458"/>
                  </a:lnTo>
                  <a:lnTo>
                    <a:pt x="138" y="417"/>
                  </a:lnTo>
                  <a:lnTo>
                    <a:pt x="162" y="379"/>
                  </a:lnTo>
                  <a:lnTo>
                    <a:pt x="187" y="342"/>
                  </a:lnTo>
                  <a:lnTo>
                    <a:pt x="214" y="307"/>
                  </a:lnTo>
                  <a:lnTo>
                    <a:pt x="244" y="273"/>
                  </a:lnTo>
                  <a:lnTo>
                    <a:pt x="275" y="242"/>
                  </a:lnTo>
                  <a:lnTo>
                    <a:pt x="309" y="211"/>
                  </a:lnTo>
                  <a:lnTo>
                    <a:pt x="343" y="183"/>
                  </a:lnTo>
                  <a:lnTo>
                    <a:pt x="380" y="156"/>
                  </a:lnTo>
                  <a:lnTo>
                    <a:pt x="418" y="132"/>
                  </a:lnTo>
                  <a:lnTo>
                    <a:pt x="458" y="110"/>
                  </a:lnTo>
                  <a:lnTo>
                    <a:pt x="500" y="89"/>
                  </a:lnTo>
                  <a:lnTo>
                    <a:pt x="544" y="71"/>
                  </a:lnTo>
                  <a:lnTo>
                    <a:pt x="591" y="55"/>
                  </a:lnTo>
                  <a:lnTo>
                    <a:pt x="638" y="40"/>
                  </a:lnTo>
                  <a:lnTo>
                    <a:pt x="687" y="28"/>
                  </a:lnTo>
                  <a:lnTo>
                    <a:pt x="738" y="18"/>
                  </a:lnTo>
                  <a:lnTo>
                    <a:pt x="790" y="10"/>
                  </a:lnTo>
                  <a:lnTo>
                    <a:pt x="845" y="5"/>
                  </a:lnTo>
                  <a:lnTo>
                    <a:pt x="902" y="1"/>
                  </a:lnTo>
                  <a:lnTo>
                    <a:pt x="960" y="0"/>
                  </a:lnTo>
                  <a:lnTo>
                    <a:pt x="1007" y="1"/>
                  </a:lnTo>
                  <a:lnTo>
                    <a:pt x="1052" y="3"/>
                  </a:lnTo>
                  <a:lnTo>
                    <a:pt x="1096" y="7"/>
                  </a:lnTo>
                  <a:lnTo>
                    <a:pt x="1140" y="12"/>
                  </a:lnTo>
                  <a:lnTo>
                    <a:pt x="1182" y="18"/>
                  </a:lnTo>
                  <a:lnTo>
                    <a:pt x="1222" y="26"/>
                  </a:lnTo>
                  <a:lnTo>
                    <a:pt x="1260" y="36"/>
                  </a:lnTo>
                  <a:lnTo>
                    <a:pt x="1298" y="47"/>
                  </a:lnTo>
                  <a:lnTo>
                    <a:pt x="1333" y="59"/>
                  </a:lnTo>
                  <a:lnTo>
                    <a:pt x="1368" y="74"/>
                  </a:lnTo>
                  <a:lnTo>
                    <a:pt x="1401" y="89"/>
                  </a:lnTo>
                  <a:lnTo>
                    <a:pt x="1434" y="106"/>
                  </a:lnTo>
                  <a:lnTo>
                    <a:pt x="1464" y="124"/>
                  </a:lnTo>
                  <a:lnTo>
                    <a:pt x="1492" y="144"/>
                  </a:lnTo>
                  <a:lnTo>
                    <a:pt x="1520" y="166"/>
                  </a:lnTo>
                  <a:lnTo>
                    <a:pt x="1546" y="189"/>
                  </a:lnTo>
                  <a:lnTo>
                    <a:pt x="1570" y="213"/>
                  </a:lnTo>
                  <a:lnTo>
                    <a:pt x="1593" y="240"/>
                  </a:lnTo>
                  <a:lnTo>
                    <a:pt x="1614" y="268"/>
                  </a:lnTo>
                  <a:lnTo>
                    <a:pt x="1634" y="297"/>
                  </a:lnTo>
                  <a:lnTo>
                    <a:pt x="1652" y="327"/>
                  </a:lnTo>
                  <a:lnTo>
                    <a:pt x="1669" y="359"/>
                  </a:lnTo>
                  <a:lnTo>
                    <a:pt x="1685" y="393"/>
                  </a:lnTo>
                  <a:lnTo>
                    <a:pt x="1699" y="428"/>
                  </a:lnTo>
                  <a:lnTo>
                    <a:pt x="1711" y="465"/>
                  </a:lnTo>
                  <a:lnTo>
                    <a:pt x="1721" y="503"/>
                  </a:lnTo>
                  <a:lnTo>
                    <a:pt x="1730" y="544"/>
                  </a:lnTo>
                  <a:lnTo>
                    <a:pt x="1737" y="585"/>
                  </a:lnTo>
                  <a:lnTo>
                    <a:pt x="1743" y="628"/>
                  </a:lnTo>
                  <a:lnTo>
                    <a:pt x="1747" y="672"/>
                  </a:lnTo>
                  <a:lnTo>
                    <a:pt x="1750" y="718"/>
                  </a:lnTo>
                  <a:lnTo>
                    <a:pt x="1751" y="765"/>
                  </a:lnTo>
                  <a:lnTo>
                    <a:pt x="1234" y="76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  <a:cs typeface="+mn-cs"/>
              </a:endParaRPr>
            </a:p>
          </p:txBody>
        </p:sp>
        <p:sp>
          <p:nvSpPr>
            <p:cNvPr id="11" name="Freeform 7"/>
            <p:cNvSpPr>
              <a:spLocks noEditPoints="1"/>
            </p:cNvSpPr>
            <p:nvPr/>
          </p:nvSpPr>
          <p:spPr bwMode="gray">
            <a:xfrm>
              <a:off x="1738313" y="2708275"/>
              <a:ext cx="366712" cy="473075"/>
            </a:xfrm>
            <a:custGeom>
              <a:avLst/>
              <a:gdLst/>
              <a:ahLst/>
              <a:cxnLst>
                <a:cxn ang="0">
                  <a:pos x="474" y="631"/>
                </a:cxn>
                <a:cxn ang="0">
                  <a:pos x="496" y="558"/>
                </a:cxn>
                <a:cxn ang="0">
                  <a:pos x="528" y="492"/>
                </a:cxn>
                <a:cxn ang="0">
                  <a:pos x="571" y="434"/>
                </a:cxn>
                <a:cxn ang="0">
                  <a:pos x="624" y="386"/>
                </a:cxn>
                <a:cxn ang="0">
                  <a:pos x="684" y="348"/>
                </a:cxn>
                <a:cxn ang="0">
                  <a:pos x="751" y="322"/>
                </a:cxn>
                <a:cxn ang="0">
                  <a:pos x="824" y="308"/>
                </a:cxn>
                <a:cxn ang="0">
                  <a:pos x="905" y="308"/>
                </a:cxn>
                <a:cxn ang="0">
                  <a:pos x="982" y="320"/>
                </a:cxn>
                <a:cxn ang="0">
                  <a:pos x="1049" y="345"/>
                </a:cxn>
                <a:cxn ang="0">
                  <a:pos x="1108" y="381"/>
                </a:cxn>
                <a:cxn ang="0">
                  <a:pos x="1157" y="427"/>
                </a:cxn>
                <a:cxn ang="0">
                  <a:pos x="1194" y="484"/>
                </a:cxn>
                <a:cxn ang="0">
                  <a:pos x="1220" y="552"/>
                </a:cxn>
                <a:cxn ang="0">
                  <a:pos x="1233" y="628"/>
                </a:cxn>
                <a:cxn ang="0">
                  <a:pos x="1694" y="847"/>
                </a:cxn>
                <a:cxn ang="0">
                  <a:pos x="1681" y="664"/>
                </a:cxn>
                <a:cxn ang="0">
                  <a:pos x="1644" y="499"/>
                </a:cxn>
                <a:cxn ang="0">
                  <a:pos x="1582" y="355"/>
                </a:cxn>
                <a:cxn ang="0">
                  <a:pos x="1495" y="232"/>
                </a:cxn>
                <a:cxn ang="0">
                  <a:pos x="1382" y="133"/>
                </a:cxn>
                <a:cxn ang="0">
                  <a:pos x="1245" y="61"/>
                </a:cxn>
                <a:cxn ang="0">
                  <a:pos x="1083" y="15"/>
                </a:cxn>
                <a:cxn ang="0">
                  <a:pos x="896" y="0"/>
                </a:cxn>
                <a:cxn ang="0">
                  <a:pos x="679" y="18"/>
                </a:cxn>
                <a:cxn ang="0">
                  <a:pos x="494" y="70"/>
                </a:cxn>
                <a:cxn ang="0">
                  <a:pos x="340" y="153"/>
                </a:cxn>
                <a:cxn ang="0">
                  <a:pos x="215" y="268"/>
                </a:cxn>
                <a:cxn ang="0">
                  <a:pos x="120" y="410"/>
                </a:cxn>
                <a:cxn ang="0">
                  <a:pos x="54" y="578"/>
                </a:cxn>
                <a:cxn ang="0">
                  <a:pos x="13" y="770"/>
                </a:cxn>
                <a:cxn ang="0">
                  <a:pos x="0" y="983"/>
                </a:cxn>
                <a:cxn ang="0">
                  <a:pos x="15" y="1232"/>
                </a:cxn>
                <a:cxn ang="0">
                  <a:pos x="62" y="1461"/>
                </a:cxn>
                <a:cxn ang="0">
                  <a:pos x="139" y="1666"/>
                </a:cxn>
                <a:cxn ang="0">
                  <a:pos x="250" y="1841"/>
                </a:cxn>
                <a:cxn ang="0">
                  <a:pos x="397" y="1986"/>
                </a:cxn>
                <a:cxn ang="0">
                  <a:pos x="579" y="2094"/>
                </a:cxn>
                <a:cxn ang="0">
                  <a:pos x="798" y="2161"/>
                </a:cxn>
                <a:cxn ang="0">
                  <a:pos x="1057" y="2185"/>
                </a:cxn>
                <a:cxn ang="0">
                  <a:pos x="1207" y="2180"/>
                </a:cxn>
                <a:cxn ang="0">
                  <a:pos x="1353" y="2166"/>
                </a:cxn>
                <a:cxn ang="0">
                  <a:pos x="1497" y="2141"/>
                </a:cxn>
                <a:cxn ang="0">
                  <a:pos x="1638" y="2105"/>
                </a:cxn>
                <a:cxn ang="0">
                  <a:pos x="1494" y="1807"/>
                </a:cxn>
                <a:cxn ang="0">
                  <a:pos x="1367" y="1830"/>
                </a:cxn>
                <a:cxn ang="0">
                  <a:pos x="1267" y="1838"/>
                </a:cxn>
                <a:cxn ang="0">
                  <a:pos x="1113" y="1827"/>
                </a:cxn>
                <a:cxn ang="0">
                  <a:pos x="955" y="1781"/>
                </a:cxn>
                <a:cxn ang="0">
                  <a:pos x="815" y="1704"/>
                </a:cxn>
                <a:cxn ang="0">
                  <a:pos x="696" y="1599"/>
                </a:cxn>
                <a:cxn ang="0">
                  <a:pos x="597" y="1473"/>
                </a:cxn>
                <a:cxn ang="0">
                  <a:pos x="523" y="1328"/>
                </a:cxn>
                <a:cxn ang="0">
                  <a:pos x="475" y="1173"/>
                </a:cxn>
                <a:cxn ang="0">
                  <a:pos x="453" y="1009"/>
                </a:cxn>
              </a:cxnLst>
              <a:rect l="0" t="0" r="r" b="b"/>
              <a:pathLst>
                <a:path w="1694" h="2185">
                  <a:moveTo>
                    <a:pt x="1235" y="669"/>
                  </a:moveTo>
                  <a:lnTo>
                    <a:pt x="468" y="669"/>
                  </a:lnTo>
                  <a:lnTo>
                    <a:pt x="471" y="650"/>
                  </a:lnTo>
                  <a:lnTo>
                    <a:pt x="474" y="631"/>
                  </a:lnTo>
                  <a:lnTo>
                    <a:pt x="479" y="612"/>
                  </a:lnTo>
                  <a:lnTo>
                    <a:pt x="484" y="593"/>
                  </a:lnTo>
                  <a:lnTo>
                    <a:pt x="489" y="576"/>
                  </a:lnTo>
                  <a:lnTo>
                    <a:pt x="496" y="558"/>
                  </a:lnTo>
                  <a:lnTo>
                    <a:pt x="503" y="541"/>
                  </a:lnTo>
                  <a:lnTo>
                    <a:pt x="511" y="524"/>
                  </a:lnTo>
                  <a:lnTo>
                    <a:pt x="519" y="507"/>
                  </a:lnTo>
                  <a:lnTo>
                    <a:pt x="528" y="492"/>
                  </a:lnTo>
                  <a:lnTo>
                    <a:pt x="538" y="476"/>
                  </a:lnTo>
                  <a:lnTo>
                    <a:pt x="548" y="462"/>
                  </a:lnTo>
                  <a:lnTo>
                    <a:pt x="559" y="448"/>
                  </a:lnTo>
                  <a:lnTo>
                    <a:pt x="571" y="434"/>
                  </a:lnTo>
                  <a:lnTo>
                    <a:pt x="583" y="421"/>
                  </a:lnTo>
                  <a:lnTo>
                    <a:pt x="596" y="409"/>
                  </a:lnTo>
                  <a:lnTo>
                    <a:pt x="610" y="397"/>
                  </a:lnTo>
                  <a:lnTo>
                    <a:pt x="624" y="386"/>
                  </a:lnTo>
                  <a:lnTo>
                    <a:pt x="638" y="376"/>
                  </a:lnTo>
                  <a:lnTo>
                    <a:pt x="653" y="366"/>
                  </a:lnTo>
                  <a:lnTo>
                    <a:pt x="668" y="357"/>
                  </a:lnTo>
                  <a:lnTo>
                    <a:pt x="684" y="348"/>
                  </a:lnTo>
                  <a:lnTo>
                    <a:pt x="700" y="341"/>
                  </a:lnTo>
                  <a:lnTo>
                    <a:pt x="717" y="333"/>
                  </a:lnTo>
                  <a:lnTo>
                    <a:pt x="734" y="327"/>
                  </a:lnTo>
                  <a:lnTo>
                    <a:pt x="751" y="322"/>
                  </a:lnTo>
                  <a:lnTo>
                    <a:pt x="769" y="317"/>
                  </a:lnTo>
                  <a:lnTo>
                    <a:pt x="787" y="313"/>
                  </a:lnTo>
                  <a:lnTo>
                    <a:pt x="806" y="310"/>
                  </a:lnTo>
                  <a:lnTo>
                    <a:pt x="824" y="308"/>
                  </a:lnTo>
                  <a:lnTo>
                    <a:pt x="844" y="307"/>
                  </a:lnTo>
                  <a:lnTo>
                    <a:pt x="863" y="306"/>
                  </a:lnTo>
                  <a:lnTo>
                    <a:pt x="885" y="307"/>
                  </a:lnTo>
                  <a:lnTo>
                    <a:pt x="905" y="308"/>
                  </a:lnTo>
                  <a:lnTo>
                    <a:pt x="925" y="310"/>
                  </a:lnTo>
                  <a:lnTo>
                    <a:pt x="945" y="313"/>
                  </a:lnTo>
                  <a:lnTo>
                    <a:pt x="963" y="316"/>
                  </a:lnTo>
                  <a:lnTo>
                    <a:pt x="982" y="320"/>
                  </a:lnTo>
                  <a:lnTo>
                    <a:pt x="999" y="326"/>
                  </a:lnTo>
                  <a:lnTo>
                    <a:pt x="1017" y="331"/>
                  </a:lnTo>
                  <a:lnTo>
                    <a:pt x="1033" y="338"/>
                  </a:lnTo>
                  <a:lnTo>
                    <a:pt x="1049" y="345"/>
                  </a:lnTo>
                  <a:lnTo>
                    <a:pt x="1065" y="353"/>
                  </a:lnTo>
                  <a:lnTo>
                    <a:pt x="1080" y="361"/>
                  </a:lnTo>
                  <a:lnTo>
                    <a:pt x="1094" y="371"/>
                  </a:lnTo>
                  <a:lnTo>
                    <a:pt x="1108" y="381"/>
                  </a:lnTo>
                  <a:lnTo>
                    <a:pt x="1121" y="391"/>
                  </a:lnTo>
                  <a:lnTo>
                    <a:pt x="1133" y="403"/>
                  </a:lnTo>
                  <a:lnTo>
                    <a:pt x="1145" y="415"/>
                  </a:lnTo>
                  <a:lnTo>
                    <a:pt x="1157" y="427"/>
                  </a:lnTo>
                  <a:lnTo>
                    <a:pt x="1167" y="441"/>
                  </a:lnTo>
                  <a:lnTo>
                    <a:pt x="1177" y="455"/>
                  </a:lnTo>
                  <a:lnTo>
                    <a:pt x="1186" y="469"/>
                  </a:lnTo>
                  <a:lnTo>
                    <a:pt x="1194" y="484"/>
                  </a:lnTo>
                  <a:lnTo>
                    <a:pt x="1202" y="500"/>
                  </a:lnTo>
                  <a:lnTo>
                    <a:pt x="1209" y="517"/>
                  </a:lnTo>
                  <a:lnTo>
                    <a:pt x="1215" y="535"/>
                  </a:lnTo>
                  <a:lnTo>
                    <a:pt x="1220" y="552"/>
                  </a:lnTo>
                  <a:lnTo>
                    <a:pt x="1224" y="570"/>
                  </a:lnTo>
                  <a:lnTo>
                    <a:pt x="1228" y="589"/>
                  </a:lnTo>
                  <a:lnTo>
                    <a:pt x="1231" y="608"/>
                  </a:lnTo>
                  <a:lnTo>
                    <a:pt x="1233" y="628"/>
                  </a:lnTo>
                  <a:lnTo>
                    <a:pt x="1234" y="648"/>
                  </a:lnTo>
                  <a:lnTo>
                    <a:pt x="1235" y="669"/>
                  </a:lnTo>
                  <a:close/>
                  <a:moveTo>
                    <a:pt x="1694" y="967"/>
                  </a:moveTo>
                  <a:lnTo>
                    <a:pt x="1694" y="847"/>
                  </a:lnTo>
                  <a:lnTo>
                    <a:pt x="1693" y="800"/>
                  </a:lnTo>
                  <a:lnTo>
                    <a:pt x="1691" y="753"/>
                  </a:lnTo>
                  <a:lnTo>
                    <a:pt x="1687" y="708"/>
                  </a:lnTo>
                  <a:lnTo>
                    <a:pt x="1681" y="664"/>
                  </a:lnTo>
                  <a:lnTo>
                    <a:pt x="1674" y="622"/>
                  </a:lnTo>
                  <a:lnTo>
                    <a:pt x="1666" y="580"/>
                  </a:lnTo>
                  <a:lnTo>
                    <a:pt x="1656" y="540"/>
                  </a:lnTo>
                  <a:lnTo>
                    <a:pt x="1644" y="499"/>
                  </a:lnTo>
                  <a:lnTo>
                    <a:pt x="1631" y="461"/>
                  </a:lnTo>
                  <a:lnTo>
                    <a:pt x="1616" y="425"/>
                  </a:lnTo>
                  <a:lnTo>
                    <a:pt x="1600" y="389"/>
                  </a:lnTo>
                  <a:lnTo>
                    <a:pt x="1582" y="355"/>
                  </a:lnTo>
                  <a:lnTo>
                    <a:pt x="1562" y="323"/>
                  </a:lnTo>
                  <a:lnTo>
                    <a:pt x="1541" y="291"/>
                  </a:lnTo>
                  <a:lnTo>
                    <a:pt x="1519" y="262"/>
                  </a:lnTo>
                  <a:lnTo>
                    <a:pt x="1495" y="232"/>
                  </a:lnTo>
                  <a:lnTo>
                    <a:pt x="1469" y="205"/>
                  </a:lnTo>
                  <a:lnTo>
                    <a:pt x="1442" y="180"/>
                  </a:lnTo>
                  <a:lnTo>
                    <a:pt x="1412" y="156"/>
                  </a:lnTo>
                  <a:lnTo>
                    <a:pt x="1382" y="133"/>
                  </a:lnTo>
                  <a:lnTo>
                    <a:pt x="1350" y="113"/>
                  </a:lnTo>
                  <a:lnTo>
                    <a:pt x="1317" y="94"/>
                  </a:lnTo>
                  <a:lnTo>
                    <a:pt x="1282" y="76"/>
                  </a:lnTo>
                  <a:lnTo>
                    <a:pt x="1245" y="61"/>
                  </a:lnTo>
                  <a:lnTo>
                    <a:pt x="1207" y="47"/>
                  </a:lnTo>
                  <a:lnTo>
                    <a:pt x="1168" y="34"/>
                  </a:lnTo>
                  <a:lnTo>
                    <a:pt x="1125" y="24"/>
                  </a:lnTo>
                  <a:lnTo>
                    <a:pt x="1083" y="15"/>
                  </a:lnTo>
                  <a:lnTo>
                    <a:pt x="1038" y="9"/>
                  </a:lnTo>
                  <a:lnTo>
                    <a:pt x="993" y="4"/>
                  </a:lnTo>
                  <a:lnTo>
                    <a:pt x="945" y="1"/>
                  </a:lnTo>
                  <a:lnTo>
                    <a:pt x="896" y="0"/>
                  </a:lnTo>
                  <a:lnTo>
                    <a:pt x="838" y="1"/>
                  </a:lnTo>
                  <a:lnTo>
                    <a:pt x="783" y="4"/>
                  </a:lnTo>
                  <a:lnTo>
                    <a:pt x="730" y="10"/>
                  </a:lnTo>
                  <a:lnTo>
                    <a:pt x="679" y="18"/>
                  </a:lnTo>
                  <a:lnTo>
                    <a:pt x="630" y="28"/>
                  </a:lnTo>
                  <a:lnTo>
                    <a:pt x="582" y="39"/>
                  </a:lnTo>
                  <a:lnTo>
                    <a:pt x="537" y="54"/>
                  </a:lnTo>
                  <a:lnTo>
                    <a:pt x="494" y="70"/>
                  </a:lnTo>
                  <a:lnTo>
                    <a:pt x="453" y="88"/>
                  </a:lnTo>
                  <a:lnTo>
                    <a:pt x="413" y="108"/>
                  </a:lnTo>
                  <a:lnTo>
                    <a:pt x="376" y="130"/>
                  </a:lnTo>
                  <a:lnTo>
                    <a:pt x="340" y="153"/>
                  </a:lnTo>
                  <a:lnTo>
                    <a:pt x="305" y="179"/>
                  </a:lnTo>
                  <a:lnTo>
                    <a:pt x="273" y="207"/>
                  </a:lnTo>
                  <a:lnTo>
                    <a:pt x="243" y="236"/>
                  </a:lnTo>
                  <a:lnTo>
                    <a:pt x="215" y="268"/>
                  </a:lnTo>
                  <a:lnTo>
                    <a:pt x="189" y="301"/>
                  </a:lnTo>
                  <a:lnTo>
                    <a:pt x="164" y="336"/>
                  </a:lnTo>
                  <a:lnTo>
                    <a:pt x="141" y="372"/>
                  </a:lnTo>
                  <a:lnTo>
                    <a:pt x="120" y="410"/>
                  </a:lnTo>
                  <a:lnTo>
                    <a:pt x="101" y="449"/>
                  </a:lnTo>
                  <a:lnTo>
                    <a:pt x="83" y="491"/>
                  </a:lnTo>
                  <a:lnTo>
                    <a:pt x="68" y="534"/>
                  </a:lnTo>
                  <a:lnTo>
                    <a:pt x="54" y="578"/>
                  </a:lnTo>
                  <a:lnTo>
                    <a:pt x="40" y="624"/>
                  </a:lnTo>
                  <a:lnTo>
                    <a:pt x="29" y="671"/>
                  </a:lnTo>
                  <a:lnTo>
                    <a:pt x="20" y="720"/>
                  </a:lnTo>
                  <a:lnTo>
                    <a:pt x="13" y="770"/>
                  </a:lnTo>
                  <a:lnTo>
                    <a:pt x="7" y="822"/>
                  </a:lnTo>
                  <a:lnTo>
                    <a:pt x="3" y="874"/>
                  </a:lnTo>
                  <a:lnTo>
                    <a:pt x="1" y="928"/>
                  </a:lnTo>
                  <a:lnTo>
                    <a:pt x="0" y="983"/>
                  </a:lnTo>
                  <a:lnTo>
                    <a:pt x="1" y="1047"/>
                  </a:lnTo>
                  <a:lnTo>
                    <a:pt x="4" y="1110"/>
                  </a:lnTo>
                  <a:lnTo>
                    <a:pt x="9" y="1172"/>
                  </a:lnTo>
                  <a:lnTo>
                    <a:pt x="15" y="1232"/>
                  </a:lnTo>
                  <a:lnTo>
                    <a:pt x="24" y="1291"/>
                  </a:lnTo>
                  <a:lnTo>
                    <a:pt x="34" y="1349"/>
                  </a:lnTo>
                  <a:lnTo>
                    <a:pt x="46" y="1406"/>
                  </a:lnTo>
                  <a:lnTo>
                    <a:pt x="62" y="1461"/>
                  </a:lnTo>
                  <a:lnTo>
                    <a:pt x="78" y="1514"/>
                  </a:lnTo>
                  <a:lnTo>
                    <a:pt x="96" y="1566"/>
                  </a:lnTo>
                  <a:lnTo>
                    <a:pt x="117" y="1616"/>
                  </a:lnTo>
                  <a:lnTo>
                    <a:pt x="139" y="1666"/>
                  </a:lnTo>
                  <a:lnTo>
                    <a:pt x="164" y="1712"/>
                  </a:lnTo>
                  <a:lnTo>
                    <a:pt x="191" y="1757"/>
                  </a:lnTo>
                  <a:lnTo>
                    <a:pt x="219" y="1800"/>
                  </a:lnTo>
                  <a:lnTo>
                    <a:pt x="250" y="1841"/>
                  </a:lnTo>
                  <a:lnTo>
                    <a:pt x="283" y="1881"/>
                  </a:lnTo>
                  <a:lnTo>
                    <a:pt x="319" y="1919"/>
                  </a:lnTo>
                  <a:lnTo>
                    <a:pt x="357" y="1953"/>
                  </a:lnTo>
                  <a:lnTo>
                    <a:pt x="397" y="1986"/>
                  </a:lnTo>
                  <a:lnTo>
                    <a:pt x="439" y="2017"/>
                  </a:lnTo>
                  <a:lnTo>
                    <a:pt x="483" y="2045"/>
                  </a:lnTo>
                  <a:lnTo>
                    <a:pt x="530" y="2071"/>
                  </a:lnTo>
                  <a:lnTo>
                    <a:pt x="579" y="2094"/>
                  </a:lnTo>
                  <a:lnTo>
                    <a:pt x="631" y="2115"/>
                  </a:lnTo>
                  <a:lnTo>
                    <a:pt x="684" y="2133"/>
                  </a:lnTo>
                  <a:lnTo>
                    <a:pt x="740" y="2149"/>
                  </a:lnTo>
                  <a:lnTo>
                    <a:pt x="798" y="2161"/>
                  </a:lnTo>
                  <a:lnTo>
                    <a:pt x="859" y="2172"/>
                  </a:lnTo>
                  <a:lnTo>
                    <a:pt x="923" y="2179"/>
                  </a:lnTo>
                  <a:lnTo>
                    <a:pt x="989" y="2183"/>
                  </a:lnTo>
                  <a:lnTo>
                    <a:pt x="1057" y="2185"/>
                  </a:lnTo>
                  <a:lnTo>
                    <a:pt x="1095" y="2185"/>
                  </a:lnTo>
                  <a:lnTo>
                    <a:pt x="1132" y="2184"/>
                  </a:lnTo>
                  <a:lnTo>
                    <a:pt x="1170" y="2182"/>
                  </a:lnTo>
                  <a:lnTo>
                    <a:pt x="1207" y="2180"/>
                  </a:lnTo>
                  <a:lnTo>
                    <a:pt x="1244" y="2178"/>
                  </a:lnTo>
                  <a:lnTo>
                    <a:pt x="1281" y="2174"/>
                  </a:lnTo>
                  <a:lnTo>
                    <a:pt x="1317" y="2170"/>
                  </a:lnTo>
                  <a:lnTo>
                    <a:pt x="1353" y="2166"/>
                  </a:lnTo>
                  <a:lnTo>
                    <a:pt x="1389" y="2161"/>
                  </a:lnTo>
                  <a:lnTo>
                    <a:pt x="1425" y="2155"/>
                  </a:lnTo>
                  <a:lnTo>
                    <a:pt x="1462" y="2148"/>
                  </a:lnTo>
                  <a:lnTo>
                    <a:pt x="1497" y="2141"/>
                  </a:lnTo>
                  <a:lnTo>
                    <a:pt x="1533" y="2133"/>
                  </a:lnTo>
                  <a:lnTo>
                    <a:pt x="1568" y="2124"/>
                  </a:lnTo>
                  <a:lnTo>
                    <a:pt x="1603" y="2115"/>
                  </a:lnTo>
                  <a:lnTo>
                    <a:pt x="1638" y="2105"/>
                  </a:lnTo>
                  <a:lnTo>
                    <a:pt x="1638" y="1766"/>
                  </a:lnTo>
                  <a:lnTo>
                    <a:pt x="1591" y="1781"/>
                  </a:lnTo>
                  <a:lnTo>
                    <a:pt x="1543" y="1794"/>
                  </a:lnTo>
                  <a:lnTo>
                    <a:pt x="1494" y="1807"/>
                  </a:lnTo>
                  <a:lnTo>
                    <a:pt x="1444" y="1817"/>
                  </a:lnTo>
                  <a:lnTo>
                    <a:pt x="1417" y="1822"/>
                  </a:lnTo>
                  <a:lnTo>
                    <a:pt x="1392" y="1826"/>
                  </a:lnTo>
                  <a:lnTo>
                    <a:pt x="1367" y="1830"/>
                  </a:lnTo>
                  <a:lnTo>
                    <a:pt x="1342" y="1833"/>
                  </a:lnTo>
                  <a:lnTo>
                    <a:pt x="1316" y="1835"/>
                  </a:lnTo>
                  <a:lnTo>
                    <a:pt x="1292" y="1837"/>
                  </a:lnTo>
                  <a:lnTo>
                    <a:pt x="1267" y="1838"/>
                  </a:lnTo>
                  <a:lnTo>
                    <a:pt x="1243" y="1838"/>
                  </a:lnTo>
                  <a:lnTo>
                    <a:pt x="1199" y="1837"/>
                  </a:lnTo>
                  <a:lnTo>
                    <a:pt x="1156" y="1833"/>
                  </a:lnTo>
                  <a:lnTo>
                    <a:pt x="1113" y="1827"/>
                  </a:lnTo>
                  <a:lnTo>
                    <a:pt x="1072" y="1819"/>
                  </a:lnTo>
                  <a:lnTo>
                    <a:pt x="1032" y="1809"/>
                  </a:lnTo>
                  <a:lnTo>
                    <a:pt x="993" y="1796"/>
                  </a:lnTo>
                  <a:lnTo>
                    <a:pt x="955" y="1781"/>
                  </a:lnTo>
                  <a:lnTo>
                    <a:pt x="919" y="1765"/>
                  </a:lnTo>
                  <a:lnTo>
                    <a:pt x="883" y="1746"/>
                  </a:lnTo>
                  <a:lnTo>
                    <a:pt x="848" y="1726"/>
                  </a:lnTo>
                  <a:lnTo>
                    <a:pt x="815" y="1704"/>
                  </a:lnTo>
                  <a:lnTo>
                    <a:pt x="783" y="1680"/>
                  </a:lnTo>
                  <a:lnTo>
                    <a:pt x="753" y="1655"/>
                  </a:lnTo>
                  <a:lnTo>
                    <a:pt x="724" y="1627"/>
                  </a:lnTo>
                  <a:lnTo>
                    <a:pt x="696" y="1599"/>
                  </a:lnTo>
                  <a:lnTo>
                    <a:pt x="669" y="1569"/>
                  </a:lnTo>
                  <a:lnTo>
                    <a:pt x="644" y="1538"/>
                  </a:lnTo>
                  <a:lnTo>
                    <a:pt x="620" y="1506"/>
                  </a:lnTo>
                  <a:lnTo>
                    <a:pt x="597" y="1473"/>
                  </a:lnTo>
                  <a:lnTo>
                    <a:pt x="576" y="1438"/>
                  </a:lnTo>
                  <a:lnTo>
                    <a:pt x="557" y="1403"/>
                  </a:lnTo>
                  <a:lnTo>
                    <a:pt x="539" y="1367"/>
                  </a:lnTo>
                  <a:lnTo>
                    <a:pt x="523" y="1328"/>
                  </a:lnTo>
                  <a:lnTo>
                    <a:pt x="509" y="1290"/>
                  </a:lnTo>
                  <a:lnTo>
                    <a:pt x="496" y="1252"/>
                  </a:lnTo>
                  <a:lnTo>
                    <a:pt x="484" y="1213"/>
                  </a:lnTo>
                  <a:lnTo>
                    <a:pt x="475" y="1173"/>
                  </a:lnTo>
                  <a:lnTo>
                    <a:pt x="467" y="1133"/>
                  </a:lnTo>
                  <a:lnTo>
                    <a:pt x="460" y="1092"/>
                  </a:lnTo>
                  <a:lnTo>
                    <a:pt x="456" y="1050"/>
                  </a:lnTo>
                  <a:lnTo>
                    <a:pt x="453" y="1009"/>
                  </a:lnTo>
                  <a:lnTo>
                    <a:pt x="452" y="967"/>
                  </a:lnTo>
                  <a:lnTo>
                    <a:pt x="1694" y="96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  <a:cs typeface="+mn-cs"/>
              </a:endParaRPr>
            </a:p>
          </p:txBody>
        </p:sp>
        <p:sp>
          <p:nvSpPr>
            <p:cNvPr id="12" name="Freeform 8"/>
            <p:cNvSpPr>
              <a:spLocks/>
            </p:cNvSpPr>
            <p:nvPr/>
          </p:nvSpPr>
          <p:spPr bwMode="gray">
            <a:xfrm>
              <a:off x="2159000" y="2708275"/>
              <a:ext cx="363538" cy="463550"/>
            </a:xfrm>
            <a:custGeom>
              <a:avLst/>
              <a:gdLst/>
              <a:ahLst/>
              <a:cxnLst>
                <a:cxn ang="0">
                  <a:pos x="1194" y="897"/>
                </a:cxn>
                <a:cxn ang="0">
                  <a:pos x="1193" y="775"/>
                </a:cxn>
                <a:cxn ang="0">
                  <a:pos x="1185" y="675"/>
                </a:cxn>
                <a:cxn ang="0">
                  <a:pos x="1167" y="582"/>
                </a:cxn>
                <a:cxn ang="0">
                  <a:pos x="1153" y="542"/>
                </a:cxn>
                <a:cxn ang="0">
                  <a:pos x="1135" y="508"/>
                </a:cxn>
                <a:cxn ang="0">
                  <a:pos x="1115" y="485"/>
                </a:cxn>
                <a:cxn ang="0">
                  <a:pos x="1093" y="471"/>
                </a:cxn>
                <a:cxn ang="0">
                  <a:pos x="1040" y="455"/>
                </a:cxn>
                <a:cxn ang="0">
                  <a:pos x="984" y="451"/>
                </a:cxn>
                <a:cxn ang="0">
                  <a:pos x="891" y="464"/>
                </a:cxn>
                <a:cxn ang="0">
                  <a:pos x="807" y="499"/>
                </a:cxn>
                <a:cxn ang="0">
                  <a:pos x="735" y="554"/>
                </a:cxn>
                <a:cxn ang="0">
                  <a:pos x="673" y="625"/>
                </a:cxn>
                <a:cxn ang="0">
                  <a:pos x="621" y="707"/>
                </a:cxn>
                <a:cxn ang="0">
                  <a:pos x="577" y="799"/>
                </a:cxn>
                <a:cxn ang="0">
                  <a:pos x="544" y="895"/>
                </a:cxn>
                <a:cxn ang="0">
                  <a:pos x="519" y="992"/>
                </a:cxn>
                <a:cxn ang="0">
                  <a:pos x="502" y="1089"/>
                </a:cxn>
                <a:cxn ang="0">
                  <a:pos x="494" y="1178"/>
                </a:cxn>
                <a:cxn ang="0">
                  <a:pos x="492" y="2137"/>
                </a:cxn>
                <a:cxn ang="0">
                  <a:pos x="492" y="48"/>
                </a:cxn>
                <a:cxn ang="0">
                  <a:pos x="510" y="410"/>
                </a:cxn>
                <a:cxn ang="0">
                  <a:pos x="544" y="340"/>
                </a:cxn>
                <a:cxn ang="0">
                  <a:pos x="584" y="276"/>
                </a:cxn>
                <a:cxn ang="0">
                  <a:pos x="629" y="216"/>
                </a:cxn>
                <a:cxn ang="0">
                  <a:pos x="679" y="163"/>
                </a:cxn>
                <a:cxn ang="0">
                  <a:pos x="734" y="117"/>
                </a:cxn>
                <a:cxn ang="0">
                  <a:pos x="794" y="79"/>
                </a:cxn>
                <a:cxn ang="0">
                  <a:pos x="860" y="47"/>
                </a:cxn>
                <a:cxn ang="0">
                  <a:pos x="931" y="23"/>
                </a:cxn>
                <a:cxn ang="0">
                  <a:pos x="1006" y="8"/>
                </a:cxn>
                <a:cxn ang="0">
                  <a:pos x="1085" y="0"/>
                </a:cxn>
                <a:cxn ang="0">
                  <a:pos x="1187" y="4"/>
                </a:cxn>
                <a:cxn ang="0">
                  <a:pos x="1285" y="23"/>
                </a:cxn>
                <a:cxn ang="0">
                  <a:pos x="1373" y="57"/>
                </a:cxn>
                <a:cxn ang="0">
                  <a:pos x="1449" y="104"/>
                </a:cxn>
                <a:cxn ang="0">
                  <a:pos x="1514" y="164"/>
                </a:cxn>
                <a:cxn ang="0">
                  <a:pos x="1568" y="233"/>
                </a:cxn>
                <a:cxn ang="0">
                  <a:pos x="1611" y="313"/>
                </a:cxn>
                <a:cxn ang="0">
                  <a:pos x="1644" y="398"/>
                </a:cxn>
                <a:cxn ang="0">
                  <a:pos x="1667" y="490"/>
                </a:cxn>
                <a:cxn ang="0">
                  <a:pos x="1681" y="587"/>
                </a:cxn>
                <a:cxn ang="0">
                  <a:pos x="1686" y="685"/>
                </a:cxn>
              </a:cxnLst>
              <a:rect l="0" t="0" r="r" b="b"/>
              <a:pathLst>
                <a:path w="1686" h="2137">
                  <a:moveTo>
                    <a:pt x="1194" y="2137"/>
                  </a:moveTo>
                  <a:lnTo>
                    <a:pt x="1194" y="943"/>
                  </a:lnTo>
                  <a:lnTo>
                    <a:pt x="1194" y="897"/>
                  </a:lnTo>
                  <a:lnTo>
                    <a:pt x="1194" y="840"/>
                  </a:lnTo>
                  <a:lnTo>
                    <a:pt x="1194" y="809"/>
                  </a:lnTo>
                  <a:lnTo>
                    <a:pt x="1193" y="775"/>
                  </a:lnTo>
                  <a:lnTo>
                    <a:pt x="1191" y="742"/>
                  </a:lnTo>
                  <a:lnTo>
                    <a:pt x="1188" y="708"/>
                  </a:lnTo>
                  <a:lnTo>
                    <a:pt x="1185" y="675"/>
                  </a:lnTo>
                  <a:lnTo>
                    <a:pt x="1180" y="642"/>
                  </a:lnTo>
                  <a:lnTo>
                    <a:pt x="1174" y="611"/>
                  </a:lnTo>
                  <a:lnTo>
                    <a:pt x="1167" y="582"/>
                  </a:lnTo>
                  <a:lnTo>
                    <a:pt x="1163" y="568"/>
                  </a:lnTo>
                  <a:lnTo>
                    <a:pt x="1158" y="555"/>
                  </a:lnTo>
                  <a:lnTo>
                    <a:pt x="1153" y="542"/>
                  </a:lnTo>
                  <a:lnTo>
                    <a:pt x="1147" y="530"/>
                  </a:lnTo>
                  <a:lnTo>
                    <a:pt x="1141" y="519"/>
                  </a:lnTo>
                  <a:lnTo>
                    <a:pt x="1135" y="508"/>
                  </a:lnTo>
                  <a:lnTo>
                    <a:pt x="1128" y="499"/>
                  </a:lnTo>
                  <a:lnTo>
                    <a:pt x="1121" y="491"/>
                  </a:lnTo>
                  <a:lnTo>
                    <a:pt x="1115" y="485"/>
                  </a:lnTo>
                  <a:lnTo>
                    <a:pt x="1108" y="480"/>
                  </a:lnTo>
                  <a:lnTo>
                    <a:pt x="1101" y="476"/>
                  </a:lnTo>
                  <a:lnTo>
                    <a:pt x="1093" y="471"/>
                  </a:lnTo>
                  <a:lnTo>
                    <a:pt x="1076" y="464"/>
                  </a:lnTo>
                  <a:lnTo>
                    <a:pt x="1059" y="459"/>
                  </a:lnTo>
                  <a:lnTo>
                    <a:pt x="1040" y="455"/>
                  </a:lnTo>
                  <a:lnTo>
                    <a:pt x="1022" y="453"/>
                  </a:lnTo>
                  <a:lnTo>
                    <a:pt x="1003" y="451"/>
                  </a:lnTo>
                  <a:lnTo>
                    <a:pt x="984" y="451"/>
                  </a:lnTo>
                  <a:lnTo>
                    <a:pt x="952" y="452"/>
                  </a:lnTo>
                  <a:lnTo>
                    <a:pt x="921" y="457"/>
                  </a:lnTo>
                  <a:lnTo>
                    <a:pt x="891" y="464"/>
                  </a:lnTo>
                  <a:lnTo>
                    <a:pt x="861" y="473"/>
                  </a:lnTo>
                  <a:lnTo>
                    <a:pt x="833" y="485"/>
                  </a:lnTo>
                  <a:lnTo>
                    <a:pt x="807" y="499"/>
                  </a:lnTo>
                  <a:lnTo>
                    <a:pt x="782" y="515"/>
                  </a:lnTo>
                  <a:lnTo>
                    <a:pt x="758" y="534"/>
                  </a:lnTo>
                  <a:lnTo>
                    <a:pt x="735" y="554"/>
                  </a:lnTo>
                  <a:lnTo>
                    <a:pt x="713" y="576"/>
                  </a:lnTo>
                  <a:lnTo>
                    <a:pt x="692" y="600"/>
                  </a:lnTo>
                  <a:lnTo>
                    <a:pt x="673" y="625"/>
                  </a:lnTo>
                  <a:lnTo>
                    <a:pt x="654" y="651"/>
                  </a:lnTo>
                  <a:lnTo>
                    <a:pt x="637" y="678"/>
                  </a:lnTo>
                  <a:lnTo>
                    <a:pt x="621" y="707"/>
                  </a:lnTo>
                  <a:lnTo>
                    <a:pt x="606" y="736"/>
                  </a:lnTo>
                  <a:lnTo>
                    <a:pt x="590" y="767"/>
                  </a:lnTo>
                  <a:lnTo>
                    <a:pt x="577" y="799"/>
                  </a:lnTo>
                  <a:lnTo>
                    <a:pt x="565" y="830"/>
                  </a:lnTo>
                  <a:lnTo>
                    <a:pt x="554" y="862"/>
                  </a:lnTo>
                  <a:lnTo>
                    <a:pt x="544" y="895"/>
                  </a:lnTo>
                  <a:lnTo>
                    <a:pt x="535" y="927"/>
                  </a:lnTo>
                  <a:lnTo>
                    <a:pt x="526" y="960"/>
                  </a:lnTo>
                  <a:lnTo>
                    <a:pt x="519" y="992"/>
                  </a:lnTo>
                  <a:lnTo>
                    <a:pt x="513" y="1024"/>
                  </a:lnTo>
                  <a:lnTo>
                    <a:pt x="507" y="1056"/>
                  </a:lnTo>
                  <a:lnTo>
                    <a:pt x="502" y="1089"/>
                  </a:lnTo>
                  <a:lnTo>
                    <a:pt x="499" y="1119"/>
                  </a:lnTo>
                  <a:lnTo>
                    <a:pt x="496" y="1149"/>
                  </a:lnTo>
                  <a:lnTo>
                    <a:pt x="494" y="1178"/>
                  </a:lnTo>
                  <a:lnTo>
                    <a:pt x="493" y="1207"/>
                  </a:lnTo>
                  <a:lnTo>
                    <a:pt x="492" y="1234"/>
                  </a:lnTo>
                  <a:lnTo>
                    <a:pt x="492" y="2137"/>
                  </a:lnTo>
                  <a:lnTo>
                    <a:pt x="0" y="2137"/>
                  </a:lnTo>
                  <a:lnTo>
                    <a:pt x="0" y="48"/>
                  </a:lnTo>
                  <a:lnTo>
                    <a:pt x="492" y="48"/>
                  </a:lnTo>
                  <a:lnTo>
                    <a:pt x="492" y="435"/>
                  </a:lnTo>
                  <a:lnTo>
                    <a:pt x="500" y="435"/>
                  </a:lnTo>
                  <a:lnTo>
                    <a:pt x="510" y="410"/>
                  </a:lnTo>
                  <a:lnTo>
                    <a:pt x="521" y="386"/>
                  </a:lnTo>
                  <a:lnTo>
                    <a:pt x="532" y="363"/>
                  </a:lnTo>
                  <a:lnTo>
                    <a:pt x="544" y="340"/>
                  </a:lnTo>
                  <a:lnTo>
                    <a:pt x="557" y="318"/>
                  </a:lnTo>
                  <a:lnTo>
                    <a:pt x="570" y="296"/>
                  </a:lnTo>
                  <a:lnTo>
                    <a:pt x="584" y="276"/>
                  </a:lnTo>
                  <a:lnTo>
                    <a:pt x="599" y="255"/>
                  </a:lnTo>
                  <a:lnTo>
                    <a:pt x="614" y="235"/>
                  </a:lnTo>
                  <a:lnTo>
                    <a:pt x="629" y="216"/>
                  </a:lnTo>
                  <a:lnTo>
                    <a:pt x="645" y="198"/>
                  </a:lnTo>
                  <a:lnTo>
                    <a:pt x="662" y="180"/>
                  </a:lnTo>
                  <a:lnTo>
                    <a:pt x="679" y="163"/>
                  </a:lnTo>
                  <a:lnTo>
                    <a:pt x="697" y="147"/>
                  </a:lnTo>
                  <a:lnTo>
                    <a:pt x="715" y="132"/>
                  </a:lnTo>
                  <a:lnTo>
                    <a:pt x="734" y="117"/>
                  </a:lnTo>
                  <a:lnTo>
                    <a:pt x="754" y="104"/>
                  </a:lnTo>
                  <a:lnTo>
                    <a:pt x="774" y="91"/>
                  </a:lnTo>
                  <a:lnTo>
                    <a:pt x="794" y="79"/>
                  </a:lnTo>
                  <a:lnTo>
                    <a:pt x="816" y="67"/>
                  </a:lnTo>
                  <a:lnTo>
                    <a:pt x="837" y="57"/>
                  </a:lnTo>
                  <a:lnTo>
                    <a:pt x="860" y="47"/>
                  </a:lnTo>
                  <a:lnTo>
                    <a:pt x="883" y="38"/>
                  </a:lnTo>
                  <a:lnTo>
                    <a:pt x="907" y="30"/>
                  </a:lnTo>
                  <a:lnTo>
                    <a:pt x="931" y="23"/>
                  </a:lnTo>
                  <a:lnTo>
                    <a:pt x="955" y="17"/>
                  </a:lnTo>
                  <a:lnTo>
                    <a:pt x="980" y="12"/>
                  </a:lnTo>
                  <a:lnTo>
                    <a:pt x="1006" y="8"/>
                  </a:lnTo>
                  <a:lnTo>
                    <a:pt x="1032" y="4"/>
                  </a:lnTo>
                  <a:lnTo>
                    <a:pt x="1058" y="2"/>
                  </a:lnTo>
                  <a:lnTo>
                    <a:pt x="1085" y="0"/>
                  </a:lnTo>
                  <a:lnTo>
                    <a:pt x="1113" y="0"/>
                  </a:lnTo>
                  <a:lnTo>
                    <a:pt x="1151" y="1"/>
                  </a:lnTo>
                  <a:lnTo>
                    <a:pt x="1187" y="4"/>
                  </a:lnTo>
                  <a:lnTo>
                    <a:pt x="1221" y="8"/>
                  </a:lnTo>
                  <a:lnTo>
                    <a:pt x="1254" y="15"/>
                  </a:lnTo>
                  <a:lnTo>
                    <a:pt x="1285" y="23"/>
                  </a:lnTo>
                  <a:lnTo>
                    <a:pt x="1316" y="33"/>
                  </a:lnTo>
                  <a:lnTo>
                    <a:pt x="1345" y="44"/>
                  </a:lnTo>
                  <a:lnTo>
                    <a:pt x="1373" y="57"/>
                  </a:lnTo>
                  <a:lnTo>
                    <a:pt x="1399" y="71"/>
                  </a:lnTo>
                  <a:lnTo>
                    <a:pt x="1424" y="87"/>
                  </a:lnTo>
                  <a:lnTo>
                    <a:pt x="1449" y="104"/>
                  </a:lnTo>
                  <a:lnTo>
                    <a:pt x="1472" y="123"/>
                  </a:lnTo>
                  <a:lnTo>
                    <a:pt x="1493" y="143"/>
                  </a:lnTo>
                  <a:lnTo>
                    <a:pt x="1514" y="164"/>
                  </a:lnTo>
                  <a:lnTo>
                    <a:pt x="1533" y="186"/>
                  </a:lnTo>
                  <a:lnTo>
                    <a:pt x="1551" y="209"/>
                  </a:lnTo>
                  <a:lnTo>
                    <a:pt x="1568" y="233"/>
                  </a:lnTo>
                  <a:lnTo>
                    <a:pt x="1583" y="259"/>
                  </a:lnTo>
                  <a:lnTo>
                    <a:pt x="1598" y="286"/>
                  </a:lnTo>
                  <a:lnTo>
                    <a:pt x="1611" y="313"/>
                  </a:lnTo>
                  <a:lnTo>
                    <a:pt x="1623" y="340"/>
                  </a:lnTo>
                  <a:lnTo>
                    <a:pt x="1634" y="369"/>
                  </a:lnTo>
                  <a:lnTo>
                    <a:pt x="1644" y="398"/>
                  </a:lnTo>
                  <a:lnTo>
                    <a:pt x="1653" y="428"/>
                  </a:lnTo>
                  <a:lnTo>
                    <a:pt x="1661" y="459"/>
                  </a:lnTo>
                  <a:lnTo>
                    <a:pt x="1667" y="490"/>
                  </a:lnTo>
                  <a:lnTo>
                    <a:pt x="1673" y="522"/>
                  </a:lnTo>
                  <a:lnTo>
                    <a:pt x="1677" y="554"/>
                  </a:lnTo>
                  <a:lnTo>
                    <a:pt x="1681" y="587"/>
                  </a:lnTo>
                  <a:lnTo>
                    <a:pt x="1683" y="619"/>
                  </a:lnTo>
                  <a:lnTo>
                    <a:pt x="1685" y="652"/>
                  </a:lnTo>
                  <a:lnTo>
                    <a:pt x="1686" y="685"/>
                  </a:lnTo>
                  <a:lnTo>
                    <a:pt x="1686" y="2137"/>
                  </a:lnTo>
                  <a:lnTo>
                    <a:pt x="1194" y="213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  <a:cs typeface="+mn-cs"/>
              </a:endParaRPr>
            </a:p>
          </p:txBody>
        </p:sp>
        <p:sp>
          <p:nvSpPr>
            <p:cNvPr id="13" name="Freeform 9"/>
            <p:cNvSpPr>
              <a:spLocks/>
            </p:cNvSpPr>
            <p:nvPr/>
          </p:nvSpPr>
          <p:spPr bwMode="gray">
            <a:xfrm>
              <a:off x="2546350" y="2568575"/>
              <a:ext cx="330200" cy="612775"/>
            </a:xfrm>
            <a:custGeom>
              <a:avLst/>
              <a:gdLst/>
              <a:ahLst/>
              <a:cxnLst>
                <a:cxn ang="0">
                  <a:pos x="895" y="2017"/>
                </a:cxn>
                <a:cxn ang="0">
                  <a:pos x="897" y="2109"/>
                </a:cxn>
                <a:cxn ang="0">
                  <a:pos x="905" y="2195"/>
                </a:cxn>
                <a:cxn ang="0">
                  <a:pos x="911" y="2236"/>
                </a:cxn>
                <a:cxn ang="0">
                  <a:pos x="921" y="2274"/>
                </a:cxn>
                <a:cxn ang="0">
                  <a:pos x="933" y="2311"/>
                </a:cxn>
                <a:cxn ang="0">
                  <a:pos x="948" y="2345"/>
                </a:cxn>
                <a:cxn ang="0">
                  <a:pos x="967" y="2375"/>
                </a:cxn>
                <a:cxn ang="0">
                  <a:pos x="990" y="2403"/>
                </a:cxn>
                <a:cxn ang="0">
                  <a:pos x="1017" y="2426"/>
                </a:cxn>
                <a:cxn ang="0">
                  <a:pos x="1049" y="2447"/>
                </a:cxn>
                <a:cxn ang="0">
                  <a:pos x="1085" y="2463"/>
                </a:cxn>
                <a:cxn ang="0">
                  <a:pos x="1126" y="2475"/>
                </a:cxn>
                <a:cxn ang="0">
                  <a:pos x="1173" y="2482"/>
                </a:cxn>
                <a:cxn ang="0">
                  <a:pos x="1226" y="2484"/>
                </a:cxn>
                <a:cxn ang="0">
                  <a:pos x="1284" y="2482"/>
                </a:cxn>
                <a:cxn ang="0">
                  <a:pos x="1342" y="2474"/>
                </a:cxn>
                <a:cxn ang="0">
                  <a:pos x="1397" y="2464"/>
                </a:cxn>
                <a:cxn ang="0">
                  <a:pos x="1452" y="2452"/>
                </a:cxn>
                <a:cxn ang="0">
                  <a:pos x="1403" y="2805"/>
                </a:cxn>
                <a:cxn ang="0">
                  <a:pos x="1304" y="2816"/>
                </a:cxn>
                <a:cxn ang="0">
                  <a:pos x="1204" y="2825"/>
                </a:cxn>
                <a:cxn ang="0">
                  <a:pos x="1105" y="2830"/>
                </a:cxn>
                <a:cxn ang="0">
                  <a:pos x="1017" y="2830"/>
                </a:cxn>
                <a:cxn ang="0">
                  <a:pos x="941" y="2827"/>
                </a:cxn>
                <a:cxn ang="0">
                  <a:pos x="871" y="2820"/>
                </a:cxn>
                <a:cxn ang="0">
                  <a:pos x="806" y="2809"/>
                </a:cxn>
                <a:cxn ang="0">
                  <a:pos x="746" y="2794"/>
                </a:cxn>
                <a:cxn ang="0">
                  <a:pos x="690" y="2774"/>
                </a:cxn>
                <a:cxn ang="0">
                  <a:pos x="640" y="2750"/>
                </a:cxn>
                <a:cxn ang="0">
                  <a:pos x="594" y="2722"/>
                </a:cxn>
                <a:cxn ang="0">
                  <a:pos x="554" y="2688"/>
                </a:cxn>
                <a:cxn ang="0">
                  <a:pos x="519" y="2649"/>
                </a:cxn>
                <a:cxn ang="0">
                  <a:pos x="488" y="2605"/>
                </a:cxn>
                <a:cxn ang="0">
                  <a:pos x="463" y="2555"/>
                </a:cxn>
                <a:cxn ang="0">
                  <a:pos x="442" y="2500"/>
                </a:cxn>
                <a:cxn ang="0">
                  <a:pos x="427" y="2439"/>
                </a:cxn>
                <a:cxn ang="0">
                  <a:pos x="417" y="2372"/>
                </a:cxn>
                <a:cxn ang="0">
                  <a:pos x="411" y="2298"/>
                </a:cxn>
                <a:cxn ang="0">
                  <a:pos x="411" y="1033"/>
                </a:cxn>
                <a:cxn ang="0">
                  <a:pos x="0" y="694"/>
                </a:cxn>
                <a:cxn ang="0">
                  <a:pos x="411" y="194"/>
                </a:cxn>
                <a:cxn ang="0">
                  <a:pos x="895" y="694"/>
                </a:cxn>
                <a:cxn ang="0">
                  <a:pos x="1516" y="1033"/>
                </a:cxn>
              </a:cxnLst>
              <a:rect l="0" t="0" r="r" b="b"/>
              <a:pathLst>
                <a:path w="1516" h="2831">
                  <a:moveTo>
                    <a:pt x="895" y="1033"/>
                  </a:moveTo>
                  <a:lnTo>
                    <a:pt x="895" y="2017"/>
                  </a:lnTo>
                  <a:lnTo>
                    <a:pt x="895" y="2064"/>
                  </a:lnTo>
                  <a:lnTo>
                    <a:pt x="897" y="2109"/>
                  </a:lnTo>
                  <a:lnTo>
                    <a:pt x="900" y="2153"/>
                  </a:lnTo>
                  <a:lnTo>
                    <a:pt x="905" y="2195"/>
                  </a:lnTo>
                  <a:lnTo>
                    <a:pt x="908" y="2216"/>
                  </a:lnTo>
                  <a:lnTo>
                    <a:pt x="911" y="2236"/>
                  </a:lnTo>
                  <a:lnTo>
                    <a:pt x="916" y="2255"/>
                  </a:lnTo>
                  <a:lnTo>
                    <a:pt x="921" y="2274"/>
                  </a:lnTo>
                  <a:lnTo>
                    <a:pt x="927" y="2294"/>
                  </a:lnTo>
                  <a:lnTo>
                    <a:pt x="933" y="2311"/>
                  </a:lnTo>
                  <a:lnTo>
                    <a:pt x="940" y="2328"/>
                  </a:lnTo>
                  <a:lnTo>
                    <a:pt x="948" y="2345"/>
                  </a:lnTo>
                  <a:lnTo>
                    <a:pt x="957" y="2360"/>
                  </a:lnTo>
                  <a:lnTo>
                    <a:pt x="967" y="2375"/>
                  </a:lnTo>
                  <a:lnTo>
                    <a:pt x="978" y="2389"/>
                  </a:lnTo>
                  <a:lnTo>
                    <a:pt x="990" y="2403"/>
                  </a:lnTo>
                  <a:lnTo>
                    <a:pt x="1002" y="2415"/>
                  </a:lnTo>
                  <a:lnTo>
                    <a:pt x="1017" y="2426"/>
                  </a:lnTo>
                  <a:lnTo>
                    <a:pt x="1032" y="2437"/>
                  </a:lnTo>
                  <a:lnTo>
                    <a:pt x="1049" y="2447"/>
                  </a:lnTo>
                  <a:lnTo>
                    <a:pt x="1066" y="2455"/>
                  </a:lnTo>
                  <a:lnTo>
                    <a:pt x="1085" y="2463"/>
                  </a:lnTo>
                  <a:lnTo>
                    <a:pt x="1105" y="2469"/>
                  </a:lnTo>
                  <a:lnTo>
                    <a:pt x="1126" y="2475"/>
                  </a:lnTo>
                  <a:lnTo>
                    <a:pt x="1149" y="2479"/>
                  </a:lnTo>
                  <a:lnTo>
                    <a:pt x="1173" y="2482"/>
                  </a:lnTo>
                  <a:lnTo>
                    <a:pt x="1198" y="2484"/>
                  </a:lnTo>
                  <a:lnTo>
                    <a:pt x="1226" y="2484"/>
                  </a:lnTo>
                  <a:lnTo>
                    <a:pt x="1255" y="2484"/>
                  </a:lnTo>
                  <a:lnTo>
                    <a:pt x="1284" y="2482"/>
                  </a:lnTo>
                  <a:lnTo>
                    <a:pt x="1314" y="2478"/>
                  </a:lnTo>
                  <a:lnTo>
                    <a:pt x="1342" y="2474"/>
                  </a:lnTo>
                  <a:lnTo>
                    <a:pt x="1370" y="2469"/>
                  </a:lnTo>
                  <a:lnTo>
                    <a:pt x="1397" y="2464"/>
                  </a:lnTo>
                  <a:lnTo>
                    <a:pt x="1424" y="2458"/>
                  </a:lnTo>
                  <a:lnTo>
                    <a:pt x="1452" y="2452"/>
                  </a:lnTo>
                  <a:lnTo>
                    <a:pt x="1452" y="2799"/>
                  </a:lnTo>
                  <a:lnTo>
                    <a:pt x="1403" y="2805"/>
                  </a:lnTo>
                  <a:lnTo>
                    <a:pt x="1354" y="2811"/>
                  </a:lnTo>
                  <a:lnTo>
                    <a:pt x="1304" y="2816"/>
                  </a:lnTo>
                  <a:lnTo>
                    <a:pt x="1254" y="2821"/>
                  </a:lnTo>
                  <a:lnTo>
                    <a:pt x="1204" y="2825"/>
                  </a:lnTo>
                  <a:lnTo>
                    <a:pt x="1154" y="2828"/>
                  </a:lnTo>
                  <a:lnTo>
                    <a:pt x="1105" y="2830"/>
                  </a:lnTo>
                  <a:lnTo>
                    <a:pt x="1057" y="2831"/>
                  </a:lnTo>
                  <a:lnTo>
                    <a:pt x="1017" y="2830"/>
                  </a:lnTo>
                  <a:lnTo>
                    <a:pt x="978" y="2829"/>
                  </a:lnTo>
                  <a:lnTo>
                    <a:pt x="941" y="2827"/>
                  </a:lnTo>
                  <a:lnTo>
                    <a:pt x="906" y="2824"/>
                  </a:lnTo>
                  <a:lnTo>
                    <a:pt x="871" y="2820"/>
                  </a:lnTo>
                  <a:lnTo>
                    <a:pt x="838" y="2815"/>
                  </a:lnTo>
                  <a:lnTo>
                    <a:pt x="806" y="2809"/>
                  </a:lnTo>
                  <a:lnTo>
                    <a:pt x="776" y="2802"/>
                  </a:lnTo>
                  <a:lnTo>
                    <a:pt x="746" y="2794"/>
                  </a:lnTo>
                  <a:lnTo>
                    <a:pt x="717" y="2784"/>
                  </a:lnTo>
                  <a:lnTo>
                    <a:pt x="690" y="2774"/>
                  </a:lnTo>
                  <a:lnTo>
                    <a:pt x="664" y="2763"/>
                  </a:lnTo>
                  <a:lnTo>
                    <a:pt x="640" y="2750"/>
                  </a:lnTo>
                  <a:lnTo>
                    <a:pt x="616" y="2736"/>
                  </a:lnTo>
                  <a:lnTo>
                    <a:pt x="594" y="2722"/>
                  </a:lnTo>
                  <a:lnTo>
                    <a:pt x="574" y="2705"/>
                  </a:lnTo>
                  <a:lnTo>
                    <a:pt x="554" y="2688"/>
                  </a:lnTo>
                  <a:lnTo>
                    <a:pt x="536" y="2669"/>
                  </a:lnTo>
                  <a:lnTo>
                    <a:pt x="519" y="2649"/>
                  </a:lnTo>
                  <a:lnTo>
                    <a:pt x="503" y="2628"/>
                  </a:lnTo>
                  <a:lnTo>
                    <a:pt x="488" y="2605"/>
                  </a:lnTo>
                  <a:lnTo>
                    <a:pt x="475" y="2581"/>
                  </a:lnTo>
                  <a:lnTo>
                    <a:pt x="463" y="2555"/>
                  </a:lnTo>
                  <a:lnTo>
                    <a:pt x="451" y="2528"/>
                  </a:lnTo>
                  <a:lnTo>
                    <a:pt x="442" y="2500"/>
                  </a:lnTo>
                  <a:lnTo>
                    <a:pt x="434" y="2470"/>
                  </a:lnTo>
                  <a:lnTo>
                    <a:pt x="427" y="2439"/>
                  </a:lnTo>
                  <a:lnTo>
                    <a:pt x="421" y="2406"/>
                  </a:lnTo>
                  <a:lnTo>
                    <a:pt x="417" y="2372"/>
                  </a:lnTo>
                  <a:lnTo>
                    <a:pt x="413" y="2336"/>
                  </a:lnTo>
                  <a:lnTo>
                    <a:pt x="411" y="2298"/>
                  </a:lnTo>
                  <a:lnTo>
                    <a:pt x="411" y="2258"/>
                  </a:lnTo>
                  <a:lnTo>
                    <a:pt x="411" y="1033"/>
                  </a:lnTo>
                  <a:lnTo>
                    <a:pt x="0" y="1033"/>
                  </a:lnTo>
                  <a:lnTo>
                    <a:pt x="0" y="694"/>
                  </a:lnTo>
                  <a:lnTo>
                    <a:pt x="411" y="694"/>
                  </a:lnTo>
                  <a:lnTo>
                    <a:pt x="411" y="194"/>
                  </a:lnTo>
                  <a:lnTo>
                    <a:pt x="895" y="0"/>
                  </a:lnTo>
                  <a:lnTo>
                    <a:pt x="895" y="694"/>
                  </a:lnTo>
                  <a:lnTo>
                    <a:pt x="1516" y="694"/>
                  </a:lnTo>
                  <a:lnTo>
                    <a:pt x="1516" y="1033"/>
                  </a:lnTo>
                  <a:lnTo>
                    <a:pt x="895" y="103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  <a:cs typeface="+mn-cs"/>
              </a:endParaRPr>
            </a:p>
          </p:txBody>
        </p:sp>
        <p:sp>
          <p:nvSpPr>
            <p:cNvPr id="14" name="Freeform 10"/>
            <p:cNvSpPr>
              <a:spLocks/>
            </p:cNvSpPr>
            <p:nvPr/>
          </p:nvSpPr>
          <p:spPr bwMode="gray">
            <a:xfrm>
              <a:off x="2921000" y="2720975"/>
              <a:ext cx="366713" cy="460375"/>
            </a:xfrm>
            <a:custGeom>
              <a:avLst/>
              <a:gdLst/>
              <a:ahLst/>
              <a:cxnLst>
                <a:cxn ang="0">
                  <a:pos x="1185" y="1702"/>
                </a:cxn>
                <a:cxn ang="0">
                  <a:pos x="1151" y="1772"/>
                </a:cxn>
                <a:cxn ang="0">
                  <a:pos x="1112" y="1838"/>
                </a:cxn>
                <a:cxn ang="0">
                  <a:pos x="1067" y="1899"/>
                </a:cxn>
                <a:cxn ang="0">
                  <a:pos x="1018" y="1953"/>
                </a:cxn>
                <a:cxn ang="0">
                  <a:pos x="964" y="2002"/>
                </a:cxn>
                <a:cxn ang="0">
                  <a:pos x="904" y="2043"/>
                </a:cxn>
                <a:cxn ang="0">
                  <a:pos x="840" y="2078"/>
                </a:cxn>
                <a:cxn ang="0">
                  <a:pos x="772" y="2105"/>
                </a:cxn>
                <a:cxn ang="0">
                  <a:pos x="698" y="2124"/>
                </a:cxn>
                <a:cxn ang="0">
                  <a:pos x="619" y="2135"/>
                </a:cxn>
                <a:cxn ang="0">
                  <a:pos x="528" y="2136"/>
                </a:cxn>
                <a:cxn ang="0">
                  <a:pos x="427" y="2122"/>
                </a:cxn>
                <a:cxn ang="0">
                  <a:pos x="337" y="2093"/>
                </a:cxn>
                <a:cxn ang="0">
                  <a:pos x="258" y="2050"/>
                </a:cxn>
                <a:cxn ang="0">
                  <a:pos x="191" y="1994"/>
                </a:cxn>
                <a:cxn ang="0">
                  <a:pos x="134" y="1928"/>
                </a:cxn>
                <a:cxn ang="0">
                  <a:pos x="87" y="1851"/>
                </a:cxn>
                <a:cxn ang="0">
                  <a:pos x="51" y="1768"/>
                </a:cxn>
                <a:cxn ang="0">
                  <a:pos x="25" y="1678"/>
                </a:cxn>
                <a:cxn ang="0">
                  <a:pos x="8" y="1583"/>
                </a:cxn>
                <a:cxn ang="0">
                  <a:pos x="0" y="1485"/>
                </a:cxn>
                <a:cxn ang="0">
                  <a:pos x="492" y="0"/>
                </a:cxn>
                <a:cxn ang="0">
                  <a:pos x="491" y="1293"/>
                </a:cxn>
                <a:cxn ang="0">
                  <a:pos x="493" y="1391"/>
                </a:cxn>
                <a:cxn ang="0">
                  <a:pos x="503" y="1490"/>
                </a:cxn>
                <a:cxn ang="0">
                  <a:pos x="520" y="1564"/>
                </a:cxn>
                <a:cxn ang="0">
                  <a:pos x="536" y="1602"/>
                </a:cxn>
                <a:cxn ang="0">
                  <a:pos x="556" y="1630"/>
                </a:cxn>
                <a:cxn ang="0">
                  <a:pos x="577" y="1651"/>
                </a:cxn>
                <a:cxn ang="0">
                  <a:pos x="600" y="1665"/>
                </a:cxn>
                <a:cxn ang="0">
                  <a:pos x="627" y="1673"/>
                </a:cxn>
                <a:cxn ang="0">
                  <a:pos x="683" y="1678"/>
                </a:cxn>
                <a:cxn ang="0">
                  <a:pos x="766" y="1672"/>
                </a:cxn>
                <a:cxn ang="0">
                  <a:pos x="852" y="1645"/>
                </a:cxn>
                <a:cxn ang="0">
                  <a:pos x="928" y="1597"/>
                </a:cxn>
                <a:cxn ang="0">
                  <a:pos x="994" y="1531"/>
                </a:cxn>
                <a:cxn ang="0">
                  <a:pos x="1049" y="1454"/>
                </a:cxn>
                <a:cxn ang="0">
                  <a:pos x="1095" y="1367"/>
                </a:cxn>
                <a:cxn ang="0">
                  <a:pos x="1131" y="1272"/>
                </a:cxn>
                <a:cxn ang="0">
                  <a:pos x="1159" y="1176"/>
                </a:cxn>
                <a:cxn ang="0">
                  <a:pos x="1178" y="1080"/>
                </a:cxn>
                <a:cxn ang="0">
                  <a:pos x="1189" y="987"/>
                </a:cxn>
                <a:cxn ang="0">
                  <a:pos x="1193" y="903"/>
                </a:cxn>
                <a:cxn ang="0">
                  <a:pos x="1685" y="2089"/>
                </a:cxn>
              </a:cxnLst>
              <a:rect l="0" t="0" r="r" b="b"/>
              <a:pathLst>
                <a:path w="1685" h="2137">
                  <a:moveTo>
                    <a:pt x="1193" y="2089"/>
                  </a:moveTo>
                  <a:lnTo>
                    <a:pt x="1193" y="1702"/>
                  </a:lnTo>
                  <a:lnTo>
                    <a:pt x="1185" y="1702"/>
                  </a:lnTo>
                  <a:lnTo>
                    <a:pt x="1174" y="1726"/>
                  </a:lnTo>
                  <a:lnTo>
                    <a:pt x="1163" y="1749"/>
                  </a:lnTo>
                  <a:lnTo>
                    <a:pt x="1151" y="1772"/>
                  </a:lnTo>
                  <a:lnTo>
                    <a:pt x="1138" y="1794"/>
                  </a:lnTo>
                  <a:lnTo>
                    <a:pt x="1125" y="1816"/>
                  </a:lnTo>
                  <a:lnTo>
                    <a:pt x="1112" y="1838"/>
                  </a:lnTo>
                  <a:lnTo>
                    <a:pt x="1097" y="1858"/>
                  </a:lnTo>
                  <a:lnTo>
                    <a:pt x="1083" y="1879"/>
                  </a:lnTo>
                  <a:lnTo>
                    <a:pt x="1067" y="1899"/>
                  </a:lnTo>
                  <a:lnTo>
                    <a:pt x="1052" y="1918"/>
                  </a:lnTo>
                  <a:lnTo>
                    <a:pt x="1035" y="1936"/>
                  </a:lnTo>
                  <a:lnTo>
                    <a:pt x="1018" y="1953"/>
                  </a:lnTo>
                  <a:lnTo>
                    <a:pt x="1001" y="1970"/>
                  </a:lnTo>
                  <a:lnTo>
                    <a:pt x="983" y="1986"/>
                  </a:lnTo>
                  <a:lnTo>
                    <a:pt x="964" y="2002"/>
                  </a:lnTo>
                  <a:lnTo>
                    <a:pt x="945" y="2016"/>
                  </a:lnTo>
                  <a:lnTo>
                    <a:pt x="924" y="2030"/>
                  </a:lnTo>
                  <a:lnTo>
                    <a:pt x="904" y="2043"/>
                  </a:lnTo>
                  <a:lnTo>
                    <a:pt x="883" y="2056"/>
                  </a:lnTo>
                  <a:lnTo>
                    <a:pt x="862" y="2067"/>
                  </a:lnTo>
                  <a:lnTo>
                    <a:pt x="840" y="2078"/>
                  </a:lnTo>
                  <a:lnTo>
                    <a:pt x="818" y="2088"/>
                  </a:lnTo>
                  <a:lnTo>
                    <a:pt x="795" y="2097"/>
                  </a:lnTo>
                  <a:lnTo>
                    <a:pt x="772" y="2105"/>
                  </a:lnTo>
                  <a:lnTo>
                    <a:pt x="748" y="2113"/>
                  </a:lnTo>
                  <a:lnTo>
                    <a:pt x="723" y="2119"/>
                  </a:lnTo>
                  <a:lnTo>
                    <a:pt x="698" y="2124"/>
                  </a:lnTo>
                  <a:lnTo>
                    <a:pt x="673" y="2129"/>
                  </a:lnTo>
                  <a:lnTo>
                    <a:pt x="646" y="2132"/>
                  </a:lnTo>
                  <a:lnTo>
                    <a:pt x="619" y="2135"/>
                  </a:lnTo>
                  <a:lnTo>
                    <a:pt x="592" y="2136"/>
                  </a:lnTo>
                  <a:lnTo>
                    <a:pt x="564" y="2137"/>
                  </a:lnTo>
                  <a:lnTo>
                    <a:pt x="528" y="2136"/>
                  </a:lnTo>
                  <a:lnTo>
                    <a:pt x="493" y="2133"/>
                  </a:lnTo>
                  <a:lnTo>
                    <a:pt x="459" y="2128"/>
                  </a:lnTo>
                  <a:lnTo>
                    <a:pt x="427" y="2122"/>
                  </a:lnTo>
                  <a:lnTo>
                    <a:pt x="396" y="2114"/>
                  </a:lnTo>
                  <a:lnTo>
                    <a:pt x="365" y="2104"/>
                  </a:lnTo>
                  <a:lnTo>
                    <a:pt x="337" y="2093"/>
                  </a:lnTo>
                  <a:lnTo>
                    <a:pt x="309" y="2080"/>
                  </a:lnTo>
                  <a:lnTo>
                    <a:pt x="283" y="2066"/>
                  </a:lnTo>
                  <a:lnTo>
                    <a:pt x="258" y="2050"/>
                  </a:lnTo>
                  <a:lnTo>
                    <a:pt x="235" y="2033"/>
                  </a:lnTo>
                  <a:lnTo>
                    <a:pt x="212" y="2014"/>
                  </a:lnTo>
                  <a:lnTo>
                    <a:pt x="191" y="1994"/>
                  </a:lnTo>
                  <a:lnTo>
                    <a:pt x="171" y="1973"/>
                  </a:lnTo>
                  <a:lnTo>
                    <a:pt x="152" y="1951"/>
                  </a:lnTo>
                  <a:lnTo>
                    <a:pt x="134" y="1928"/>
                  </a:lnTo>
                  <a:lnTo>
                    <a:pt x="118" y="1904"/>
                  </a:lnTo>
                  <a:lnTo>
                    <a:pt x="101" y="1879"/>
                  </a:lnTo>
                  <a:lnTo>
                    <a:pt x="87" y="1851"/>
                  </a:lnTo>
                  <a:lnTo>
                    <a:pt x="74" y="1824"/>
                  </a:lnTo>
                  <a:lnTo>
                    <a:pt x="62" y="1797"/>
                  </a:lnTo>
                  <a:lnTo>
                    <a:pt x="51" y="1768"/>
                  </a:lnTo>
                  <a:lnTo>
                    <a:pt x="41" y="1739"/>
                  </a:lnTo>
                  <a:lnTo>
                    <a:pt x="32" y="1709"/>
                  </a:lnTo>
                  <a:lnTo>
                    <a:pt x="25" y="1678"/>
                  </a:lnTo>
                  <a:lnTo>
                    <a:pt x="18" y="1647"/>
                  </a:lnTo>
                  <a:lnTo>
                    <a:pt x="12" y="1616"/>
                  </a:lnTo>
                  <a:lnTo>
                    <a:pt x="8" y="1583"/>
                  </a:lnTo>
                  <a:lnTo>
                    <a:pt x="4" y="1550"/>
                  </a:lnTo>
                  <a:lnTo>
                    <a:pt x="2" y="1518"/>
                  </a:lnTo>
                  <a:lnTo>
                    <a:pt x="0" y="1485"/>
                  </a:lnTo>
                  <a:lnTo>
                    <a:pt x="0" y="1452"/>
                  </a:lnTo>
                  <a:lnTo>
                    <a:pt x="0" y="0"/>
                  </a:lnTo>
                  <a:lnTo>
                    <a:pt x="492" y="0"/>
                  </a:lnTo>
                  <a:lnTo>
                    <a:pt x="492" y="1194"/>
                  </a:lnTo>
                  <a:lnTo>
                    <a:pt x="491" y="1237"/>
                  </a:lnTo>
                  <a:lnTo>
                    <a:pt x="491" y="1293"/>
                  </a:lnTo>
                  <a:lnTo>
                    <a:pt x="491" y="1325"/>
                  </a:lnTo>
                  <a:lnTo>
                    <a:pt x="492" y="1358"/>
                  </a:lnTo>
                  <a:lnTo>
                    <a:pt x="493" y="1391"/>
                  </a:lnTo>
                  <a:lnTo>
                    <a:pt x="495" y="1425"/>
                  </a:lnTo>
                  <a:lnTo>
                    <a:pt x="498" y="1458"/>
                  </a:lnTo>
                  <a:lnTo>
                    <a:pt x="503" y="1490"/>
                  </a:lnTo>
                  <a:lnTo>
                    <a:pt x="508" y="1521"/>
                  </a:lnTo>
                  <a:lnTo>
                    <a:pt x="516" y="1551"/>
                  </a:lnTo>
                  <a:lnTo>
                    <a:pt x="520" y="1564"/>
                  </a:lnTo>
                  <a:lnTo>
                    <a:pt x="525" y="1577"/>
                  </a:lnTo>
                  <a:lnTo>
                    <a:pt x="530" y="1591"/>
                  </a:lnTo>
                  <a:lnTo>
                    <a:pt x="536" y="1602"/>
                  </a:lnTo>
                  <a:lnTo>
                    <a:pt x="542" y="1612"/>
                  </a:lnTo>
                  <a:lnTo>
                    <a:pt x="549" y="1622"/>
                  </a:lnTo>
                  <a:lnTo>
                    <a:pt x="556" y="1630"/>
                  </a:lnTo>
                  <a:lnTo>
                    <a:pt x="564" y="1638"/>
                  </a:lnTo>
                  <a:lnTo>
                    <a:pt x="571" y="1645"/>
                  </a:lnTo>
                  <a:lnTo>
                    <a:pt x="577" y="1651"/>
                  </a:lnTo>
                  <a:lnTo>
                    <a:pt x="585" y="1656"/>
                  </a:lnTo>
                  <a:lnTo>
                    <a:pt x="592" y="1661"/>
                  </a:lnTo>
                  <a:lnTo>
                    <a:pt x="600" y="1665"/>
                  </a:lnTo>
                  <a:lnTo>
                    <a:pt x="609" y="1668"/>
                  </a:lnTo>
                  <a:lnTo>
                    <a:pt x="618" y="1671"/>
                  </a:lnTo>
                  <a:lnTo>
                    <a:pt x="627" y="1673"/>
                  </a:lnTo>
                  <a:lnTo>
                    <a:pt x="645" y="1676"/>
                  </a:lnTo>
                  <a:lnTo>
                    <a:pt x="665" y="1677"/>
                  </a:lnTo>
                  <a:lnTo>
                    <a:pt x="683" y="1678"/>
                  </a:lnTo>
                  <a:lnTo>
                    <a:pt x="702" y="1678"/>
                  </a:lnTo>
                  <a:lnTo>
                    <a:pt x="734" y="1676"/>
                  </a:lnTo>
                  <a:lnTo>
                    <a:pt x="766" y="1672"/>
                  </a:lnTo>
                  <a:lnTo>
                    <a:pt x="796" y="1665"/>
                  </a:lnTo>
                  <a:lnTo>
                    <a:pt x="824" y="1656"/>
                  </a:lnTo>
                  <a:lnTo>
                    <a:pt x="852" y="1645"/>
                  </a:lnTo>
                  <a:lnTo>
                    <a:pt x="878" y="1631"/>
                  </a:lnTo>
                  <a:lnTo>
                    <a:pt x="904" y="1615"/>
                  </a:lnTo>
                  <a:lnTo>
                    <a:pt x="928" y="1597"/>
                  </a:lnTo>
                  <a:lnTo>
                    <a:pt x="952" y="1576"/>
                  </a:lnTo>
                  <a:lnTo>
                    <a:pt x="973" y="1555"/>
                  </a:lnTo>
                  <a:lnTo>
                    <a:pt x="994" y="1531"/>
                  </a:lnTo>
                  <a:lnTo>
                    <a:pt x="1013" y="1507"/>
                  </a:lnTo>
                  <a:lnTo>
                    <a:pt x="1032" y="1481"/>
                  </a:lnTo>
                  <a:lnTo>
                    <a:pt x="1049" y="1454"/>
                  </a:lnTo>
                  <a:lnTo>
                    <a:pt x="1065" y="1426"/>
                  </a:lnTo>
                  <a:lnTo>
                    <a:pt x="1081" y="1397"/>
                  </a:lnTo>
                  <a:lnTo>
                    <a:pt x="1095" y="1367"/>
                  </a:lnTo>
                  <a:lnTo>
                    <a:pt x="1108" y="1336"/>
                  </a:lnTo>
                  <a:lnTo>
                    <a:pt x="1120" y="1304"/>
                  </a:lnTo>
                  <a:lnTo>
                    <a:pt x="1131" y="1272"/>
                  </a:lnTo>
                  <a:lnTo>
                    <a:pt x="1141" y="1240"/>
                  </a:lnTo>
                  <a:lnTo>
                    <a:pt x="1151" y="1208"/>
                  </a:lnTo>
                  <a:lnTo>
                    <a:pt x="1159" y="1176"/>
                  </a:lnTo>
                  <a:lnTo>
                    <a:pt x="1166" y="1143"/>
                  </a:lnTo>
                  <a:lnTo>
                    <a:pt x="1173" y="1112"/>
                  </a:lnTo>
                  <a:lnTo>
                    <a:pt x="1178" y="1080"/>
                  </a:lnTo>
                  <a:lnTo>
                    <a:pt x="1183" y="1049"/>
                  </a:lnTo>
                  <a:lnTo>
                    <a:pt x="1187" y="1017"/>
                  </a:lnTo>
                  <a:lnTo>
                    <a:pt x="1189" y="987"/>
                  </a:lnTo>
                  <a:lnTo>
                    <a:pt x="1192" y="958"/>
                  </a:lnTo>
                  <a:lnTo>
                    <a:pt x="1193" y="930"/>
                  </a:lnTo>
                  <a:lnTo>
                    <a:pt x="1193" y="903"/>
                  </a:lnTo>
                  <a:lnTo>
                    <a:pt x="1193" y="0"/>
                  </a:lnTo>
                  <a:lnTo>
                    <a:pt x="1685" y="0"/>
                  </a:lnTo>
                  <a:lnTo>
                    <a:pt x="1685" y="2089"/>
                  </a:lnTo>
                  <a:lnTo>
                    <a:pt x="1193" y="208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  <a:cs typeface="+mn-cs"/>
              </a:endParaRPr>
            </a:p>
          </p:txBody>
        </p:sp>
        <p:sp>
          <p:nvSpPr>
            <p:cNvPr id="15" name="Freeform 11"/>
            <p:cNvSpPr>
              <a:spLocks/>
            </p:cNvSpPr>
            <p:nvPr/>
          </p:nvSpPr>
          <p:spPr bwMode="gray">
            <a:xfrm>
              <a:off x="3354388" y="2708275"/>
              <a:ext cx="250825" cy="463550"/>
            </a:xfrm>
            <a:custGeom>
              <a:avLst/>
              <a:gdLst/>
              <a:ahLst/>
              <a:cxnLst>
                <a:cxn ang="0">
                  <a:pos x="484" y="2137"/>
                </a:cxn>
                <a:cxn ang="0">
                  <a:pos x="0" y="48"/>
                </a:cxn>
                <a:cxn ang="0">
                  <a:pos x="484" y="435"/>
                </a:cxn>
                <a:cxn ang="0">
                  <a:pos x="523" y="382"/>
                </a:cxn>
                <a:cxn ang="0">
                  <a:pos x="571" y="310"/>
                </a:cxn>
                <a:cxn ang="0">
                  <a:pos x="603" y="266"/>
                </a:cxn>
                <a:cxn ang="0">
                  <a:pos x="638" y="224"/>
                </a:cxn>
                <a:cxn ang="0">
                  <a:pos x="672" y="187"/>
                </a:cxn>
                <a:cxn ang="0">
                  <a:pos x="707" y="153"/>
                </a:cxn>
                <a:cxn ang="0">
                  <a:pos x="745" y="122"/>
                </a:cxn>
                <a:cxn ang="0">
                  <a:pos x="784" y="95"/>
                </a:cxn>
                <a:cxn ang="0">
                  <a:pos x="825" y="72"/>
                </a:cxn>
                <a:cxn ang="0">
                  <a:pos x="869" y="51"/>
                </a:cxn>
                <a:cxn ang="0">
                  <a:pos x="917" y="34"/>
                </a:cxn>
                <a:cxn ang="0">
                  <a:pos x="967" y="21"/>
                </a:cxn>
                <a:cxn ang="0">
                  <a:pos x="1020" y="11"/>
                </a:cxn>
                <a:cxn ang="0">
                  <a:pos x="1076" y="4"/>
                </a:cxn>
                <a:cxn ang="0">
                  <a:pos x="1137" y="0"/>
                </a:cxn>
                <a:cxn ang="0">
                  <a:pos x="1170" y="507"/>
                </a:cxn>
                <a:cxn ang="0">
                  <a:pos x="1079" y="510"/>
                </a:cxn>
                <a:cxn ang="0">
                  <a:pos x="997" y="519"/>
                </a:cxn>
                <a:cxn ang="0">
                  <a:pos x="921" y="532"/>
                </a:cxn>
                <a:cxn ang="0">
                  <a:pos x="851" y="550"/>
                </a:cxn>
                <a:cxn ang="0">
                  <a:pos x="789" y="574"/>
                </a:cxn>
                <a:cxn ang="0">
                  <a:pos x="733" y="603"/>
                </a:cxn>
                <a:cxn ang="0">
                  <a:pos x="683" y="638"/>
                </a:cxn>
                <a:cxn ang="0">
                  <a:pos x="640" y="678"/>
                </a:cxn>
                <a:cxn ang="0">
                  <a:pos x="601" y="724"/>
                </a:cxn>
                <a:cxn ang="0">
                  <a:pos x="569" y="776"/>
                </a:cxn>
                <a:cxn ang="0">
                  <a:pos x="542" y="835"/>
                </a:cxn>
                <a:cxn ang="0">
                  <a:pos x="521" y="899"/>
                </a:cxn>
                <a:cxn ang="0">
                  <a:pos x="504" y="969"/>
                </a:cxn>
                <a:cxn ang="0">
                  <a:pos x="493" y="1045"/>
                </a:cxn>
                <a:cxn ang="0">
                  <a:pos x="486" y="1129"/>
                </a:cxn>
                <a:cxn ang="0">
                  <a:pos x="484" y="1217"/>
                </a:cxn>
              </a:cxnLst>
              <a:rect l="0" t="0" r="r" b="b"/>
              <a:pathLst>
                <a:path w="1170" h="2137">
                  <a:moveTo>
                    <a:pt x="484" y="1217"/>
                  </a:moveTo>
                  <a:lnTo>
                    <a:pt x="484" y="2137"/>
                  </a:lnTo>
                  <a:lnTo>
                    <a:pt x="0" y="2137"/>
                  </a:lnTo>
                  <a:lnTo>
                    <a:pt x="0" y="48"/>
                  </a:lnTo>
                  <a:lnTo>
                    <a:pt x="484" y="48"/>
                  </a:lnTo>
                  <a:lnTo>
                    <a:pt x="484" y="435"/>
                  </a:lnTo>
                  <a:lnTo>
                    <a:pt x="492" y="435"/>
                  </a:lnTo>
                  <a:lnTo>
                    <a:pt x="523" y="382"/>
                  </a:lnTo>
                  <a:lnTo>
                    <a:pt x="555" y="333"/>
                  </a:lnTo>
                  <a:lnTo>
                    <a:pt x="571" y="310"/>
                  </a:lnTo>
                  <a:lnTo>
                    <a:pt x="587" y="287"/>
                  </a:lnTo>
                  <a:lnTo>
                    <a:pt x="603" y="266"/>
                  </a:lnTo>
                  <a:lnTo>
                    <a:pt x="621" y="245"/>
                  </a:lnTo>
                  <a:lnTo>
                    <a:pt x="638" y="224"/>
                  </a:lnTo>
                  <a:lnTo>
                    <a:pt x="655" y="205"/>
                  </a:lnTo>
                  <a:lnTo>
                    <a:pt x="672" y="187"/>
                  </a:lnTo>
                  <a:lnTo>
                    <a:pt x="690" y="170"/>
                  </a:lnTo>
                  <a:lnTo>
                    <a:pt x="707" y="153"/>
                  </a:lnTo>
                  <a:lnTo>
                    <a:pt x="726" y="137"/>
                  </a:lnTo>
                  <a:lnTo>
                    <a:pt x="745" y="122"/>
                  </a:lnTo>
                  <a:lnTo>
                    <a:pt x="764" y="108"/>
                  </a:lnTo>
                  <a:lnTo>
                    <a:pt x="784" y="95"/>
                  </a:lnTo>
                  <a:lnTo>
                    <a:pt x="804" y="83"/>
                  </a:lnTo>
                  <a:lnTo>
                    <a:pt x="825" y="72"/>
                  </a:lnTo>
                  <a:lnTo>
                    <a:pt x="847" y="61"/>
                  </a:lnTo>
                  <a:lnTo>
                    <a:pt x="869" y="51"/>
                  </a:lnTo>
                  <a:lnTo>
                    <a:pt x="893" y="42"/>
                  </a:lnTo>
                  <a:lnTo>
                    <a:pt x="917" y="34"/>
                  </a:lnTo>
                  <a:lnTo>
                    <a:pt x="941" y="27"/>
                  </a:lnTo>
                  <a:lnTo>
                    <a:pt x="967" y="21"/>
                  </a:lnTo>
                  <a:lnTo>
                    <a:pt x="993" y="15"/>
                  </a:lnTo>
                  <a:lnTo>
                    <a:pt x="1020" y="11"/>
                  </a:lnTo>
                  <a:lnTo>
                    <a:pt x="1048" y="7"/>
                  </a:lnTo>
                  <a:lnTo>
                    <a:pt x="1076" y="4"/>
                  </a:lnTo>
                  <a:lnTo>
                    <a:pt x="1106" y="2"/>
                  </a:lnTo>
                  <a:lnTo>
                    <a:pt x="1137" y="0"/>
                  </a:lnTo>
                  <a:lnTo>
                    <a:pt x="1170" y="0"/>
                  </a:lnTo>
                  <a:lnTo>
                    <a:pt x="1170" y="507"/>
                  </a:lnTo>
                  <a:lnTo>
                    <a:pt x="1123" y="508"/>
                  </a:lnTo>
                  <a:lnTo>
                    <a:pt x="1079" y="510"/>
                  </a:lnTo>
                  <a:lnTo>
                    <a:pt x="1037" y="513"/>
                  </a:lnTo>
                  <a:lnTo>
                    <a:pt x="997" y="519"/>
                  </a:lnTo>
                  <a:lnTo>
                    <a:pt x="958" y="524"/>
                  </a:lnTo>
                  <a:lnTo>
                    <a:pt x="921" y="532"/>
                  </a:lnTo>
                  <a:lnTo>
                    <a:pt x="886" y="540"/>
                  </a:lnTo>
                  <a:lnTo>
                    <a:pt x="851" y="550"/>
                  </a:lnTo>
                  <a:lnTo>
                    <a:pt x="819" y="561"/>
                  </a:lnTo>
                  <a:lnTo>
                    <a:pt x="789" y="574"/>
                  </a:lnTo>
                  <a:lnTo>
                    <a:pt x="760" y="588"/>
                  </a:lnTo>
                  <a:lnTo>
                    <a:pt x="733" y="603"/>
                  </a:lnTo>
                  <a:lnTo>
                    <a:pt x="707" y="620"/>
                  </a:lnTo>
                  <a:lnTo>
                    <a:pt x="683" y="638"/>
                  </a:lnTo>
                  <a:lnTo>
                    <a:pt x="661" y="657"/>
                  </a:lnTo>
                  <a:lnTo>
                    <a:pt x="640" y="678"/>
                  </a:lnTo>
                  <a:lnTo>
                    <a:pt x="620" y="700"/>
                  </a:lnTo>
                  <a:lnTo>
                    <a:pt x="601" y="724"/>
                  </a:lnTo>
                  <a:lnTo>
                    <a:pt x="584" y="750"/>
                  </a:lnTo>
                  <a:lnTo>
                    <a:pt x="569" y="776"/>
                  </a:lnTo>
                  <a:lnTo>
                    <a:pt x="555" y="806"/>
                  </a:lnTo>
                  <a:lnTo>
                    <a:pt x="542" y="835"/>
                  </a:lnTo>
                  <a:lnTo>
                    <a:pt x="531" y="867"/>
                  </a:lnTo>
                  <a:lnTo>
                    <a:pt x="521" y="899"/>
                  </a:lnTo>
                  <a:lnTo>
                    <a:pt x="512" y="933"/>
                  </a:lnTo>
                  <a:lnTo>
                    <a:pt x="504" y="969"/>
                  </a:lnTo>
                  <a:lnTo>
                    <a:pt x="498" y="1007"/>
                  </a:lnTo>
                  <a:lnTo>
                    <a:pt x="493" y="1045"/>
                  </a:lnTo>
                  <a:lnTo>
                    <a:pt x="489" y="1087"/>
                  </a:lnTo>
                  <a:lnTo>
                    <a:pt x="486" y="1129"/>
                  </a:lnTo>
                  <a:lnTo>
                    <a:pt x="484" y="1172"/>
                  </a:lnTo>
                  <a:lnTo>
                    <a:pt x="484" y="12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  <a:cs typeface="+mn-cs"/>
              </a:endParaRPr>
            </a:p>
          </p:txBody>
        </p:sp>
        <p:sp>
          <p:nvSpPr>
            <p:cNvPr id="16" name="Freeform 12"/>
            <p:cNvSpPr>
              <a:spLocks noEditPoints="1"/>
            </p:cNvSpPr>
            <p:nvPr/>
          </p:nvSpPr>
          <p:spPr bwMode="gray">
            <a:xfrm>
              <a:off x="3627438" y="2708275"/>
              <a:ext cx="365125" cy="473075"/>
            </a:xfrm>
            <a:custGeom>
              <a:avLst/>
              <a:gdLst/>
              <a:ahLst/>
              <a:cxnLst>
                <a:cxn ang="0">
                  <a:pos x="475" y="631"/>
                </a:cxn>
                <a:cxn ang="0">
                  <a:pos x="496" y="558"/>
                </a:cxn>
                <a:cxn ang="0">
                  <a:pos x="528" y="492"/>
                </a:cxn>
                <a:cxn ang="0">
                  <a:pos x="571" y="434"/>
                </a:cxn>
                <a:cxn ang="0">
                  <a:pos x="623" y="386"/>
                </a:cxn>
                <a:cxn ang="0">
                  <a:pos x="683" y="348"/>
                </a:cxn>
                <a:cxn ang="0">
                  <a:pos x="751" y="322"/>
                </a:cxn>
                <a:cxn ang="0">
                  <a:pos x="825" y="308"/>
                </a:cxn>
                <a:cxn ang="0">
                  <a:pos x="904" y="308"/>
                </a:cxn>
                <a:cxn ang="0">
                  <a:pos x="981" y="320"/>
                </a:cxn>
                <a:cxn ang="0">
                  <a:pos x="1050" y="345"/>
                </a:cxn>
                <a:cxn ang="0">
                  <a:pos x="1108" y="381"/>
                </a:cxn>
                <a:cxn ang="0">
                  <a:pos x="1156" y="427"/>
                </a:cxn>
                <a:cxn ang="0">
                  <a:pos x="1193" y="484"/>
                </a:cxn>
                <a:cxn ang="0">
                  <a:pos x="1219" y="552"/>
                </a:cxn>
                <a:cxn ang="0">
                  <a:pos x="1232" y="628"/>
                </a:cxn>
                <a:cxn ang="0">
                  <a:pos x="1694" y="847"/>
                </a:cxn>
                <a:cxn ang="0">
                  <a:pos x="1682" y="664"/>
                </a:cxn>
                <a:cxn ang="0">
                  <a:pos x="1646" y="499"/>
                </a:cxn>
                <a:cxn ang="0">
                  <a:pos x="1585" y="355"/>
                </a:cxn>
                <a:cxn ang="0">
                  <a:pos x="1498" y="232"/>
                </a:cxn>
                <a:cxn ang="0">
                  <a:pos x="1388" y="133"/>
                </a:cxn>
                <a:cxn ang="0">
                  <a:pos x="1251" y="61"/>
                </a:cxn>
                <a:cxn ang="0">
                  <a:pos x="1091" y="15"/>
                </a:cxn>
                <a:cxn ang="0">
                  <a:pos x="903" y="0"/>
                </a:cxn>
                <a:cxn ang="0">
                  <a:pos x="684" y="18"/>
                </a:cxn>
                <a:cxn ang="0">
                  <a:pos x="497" y="70"/>
                </a:cxn>
                <a:cxn ang="0">
                  <a:pos x="341" y="153"/>
                </a:cxn>
                <a:cxn ang="0">
                  <a:pos x="216" y="268"/>
                </a:cxn>
                <a:cxn ang="0">
                  <a:pos x="120" y="410"/>
                </a:cxn>
                <a:cxn ang="0">
                  <a:pos x="53" y="578"/>
                </a:cxn>
                <a:cxn ang="0">
                  <a:pos x="13" y="770"/>
                </a:cxn>
                <a:cxn ang="0">
                  <a:pos x="0" y="983"/>
                </a:cxn>
                <a:cxn ang="0">
                  <a:pos x="15" y="1232"/>
                </a:cxn>
                <a:cxn ang="0">
                  <a:pos x="61" y="1461"/>
                </a:cxn>
                <a:cxn ang="0">
                  <a:pos x="139" y="1666"/>
                </a:cxn>
                <a:cxn ang="0">
                  <a:pos x="250" y="1841"/>
                </a:cxn>
                <a:cxn ang="0">
                  <a:pos x="396" y="1986"/>
                </a:cxn>
                <a:cxn ang="0">
                  <a:pos x="579" y="2094"/>
                </a:cxn>
                <a:cxn ang="0">
                  <a:pos x="799" y="2161"/>
                </a:cxn>
                <a:cxn ang="0">
                  <a:pos x="1057" y="2185"/>
                </a:cxn>
                <a:cxn ang="0">
                  <a:pos x="1206" y="2180"/>
                </a:cxn>
                <a:cxn ang="0">
                  <a:pos x="1354" y="2166"/>
                </a:cxn>
                <a:cxn ang="0">
                  <a:pos x="1500" y="2141"/>
                </a:cxn>
                <a:cxn ang="0">
                  <a:pos x="1646" y="2105"/>
                </a:cxn>
                <a:cxn ang="0">
                  <a:pos x="1495" y="1807"/>
                </a:cxn>
                <a:cxn ang="0">
                  <a:pos x="1367" y="1830"/>
                </a:cxn>
                <a:cxn ang="0">
                  <a:pos x="1266" y="1838"/>
                </a:cxn>
                <a:cxn ang="0">
                  <a:pos x="1113" y="1827"/>
                </a:cxn>
                <a:cxn ang="0">
                  <a:pos x="954" y="1781"/>
                </a:cxn>
                <a:cxn ang="0">
                  <a:pos x="815" y="1704"/>
                </a:cxn>
                <a:cxn ang="0">
                  <a:pos x="695" y="1599"/>
                </a:cxn>
                <a:cxn ang="0">
                  <a:pos x="597" y="1473"/>
                </a:cxn>
                <a:cxn ang="0">
                  <a:pos x="523" y="1328"/>
                </a:cxn>
                <a:cxn ang="0">
                  <a:pos x="475" y="1173"/>
                </a:cxn>
                <a:cxn ang="0">
                  <a:pos x="453" y="1009"/>
                </a:cxn>
              </a:cxnLst>
              <a:rect l="0" t="0" r="r" b="b"/>
              <a:pathLst>
                <a:path w="1694" h="2185">
                  <a:moveTo>
                    <a:pt x="1234" y="669"/>
                  </a:moveTo>
                  <a:lnTo>
                    <a:pt x="469" y="669"/>
                  </a:lnTo>
                  <a:lnTo>
                    <a:pt x="471" y="650"/>
                  </a:lnTo>
                  <a:lnTo>
                    <a:pt x="475" y="631"/>
                  </a:lnTo>
                  <a:lnTo>
                    <a:pt x="479" y="612"/>
                  </a:lnTo>
                  <a:lnTo>
                    <a:pt x="484" y="593"/>
                  </a:lnTo>
                  <a:lnTo>
                    <a:pt x="489" y="576"/>
                  </a:lnTo>
                  <a:lnTo>
                    <a:pt x="496" y="558"/>
                  </a:lnTo>
                  <a:lnTo>
                    <a:pt x="503" y="541"/>
                  </a:lnTo>
                  <a:lnTo>
                    <a:pt x="511" y="524"/>
                  </a:lnTo>
                  <a:lnTo>
                    <a:pt x="519" y="507"/>
                  </a:lnTo>
                  <a:lnTo>
                    <a:pt x="528" y="492"/>
                  </a:lnTo>
                  <a:lnTo>
                    <a:pt x="538" y="476"/>
                  </a:lnTo>
                  <a:lnTo>
                    <a:pt x="549" y="462"/>
                  </a:lnTo>
                  <a:lnTo>
                    <a:pt x="560" y="448"/>
                  </a:lnTo>
                  <a:lnTo>
                    <a:pt x="571" y="434"/>
                  </a:lnTo>
                  <a:lnTo>
                    <a:pt x="583" y="421"/>
                  </a:lnTo>
                  <a:lnTo>
                    <a:pt x="596" y="409"/>
                  </a:lnTo>
                  <a:lnTo>
                    <a:pt x="609" y="397"/>
                  </a:lnTo>
                  <a:lnTo>
                    <a:pt x="623" y="386"/>
                  </a:lnTo>
                  <a:lnTo>
                    <a:pt x="637" y="376"/>
                  </a:lnTo>
                  <a:lnTo>
                    <a:pt x="652" y="366"/>
                  </a:lnTo>
                  <a:lnTo>
                    <a:pt x="667" y="357"/>
                  </a:lnTo>
                  <a:lnTo>
                    <a:pt x="683" y="348"/>
                  </a:lnTo>
                  <a:lnTo>
                    <a:pt x="699" y="341"/>
                  </a:lnTo>
                  <a:lnTo>
                    <a:pt x="716" y="333"/>
                  </a:lnTo>
                  <a:lnTo>
                    <a:pt x="734" y="327"/>
                  </a:lnTo>
                  <a:lnTo>
                    <a:pt x="751" y="322"/>
                  </a:lnTo>
                  <a:lnTo>
                    <a:pt x="769" y="317"/>
                  </a:lnTo>
                  <a:lnTo>
                    <a:pt x="787" y="313"/>
                  </a:lnTo>
                  <a:lnTo>
                    <a:pt x="806" y="310"/>
                  </a:lnTo>
                  <a:lnTo>
                    <a:pt x="825" y="308"/>
                  </a:lnTo>
                  <a:lnTo>
                    <a:pt x="844" y="307"/>
                  </a:lnTo>
                  <a:lnTo>
                    <a:pt x="863" y="306"/>
                  </a:lnTo>
                  <a:lnTo>
                    <a:pt x="884" y="307"/>
                  </a:lnTo>
                  <a:lnTo>
                    <a:pt x="904" y="308"/>
                  </a:lnTo>
                  <a:lnTo>
                    <a:pt x="924" y="310"/>
                  </a:lnTo>
                  <a:lnTo>
                    <a:pt x="944" y="313"/>
                  </a:lnTo>
                  <a:lnTo>
                    <a:pt x="963" y="316"/>
                  </a:lnTo>
                  <a:lnTo>
                    <a:pt x="981" y="320"/>
                  </a:lnTo>
                  <a:lnTo>
                    <a:pt x="999" y="326"/>
                  </a:lnTo>
                  <a:lnTo>
                    <a:pt x="1017" y="331"/>
                  </a:lnTo>
                  <a:lnTo>
                    <a:pt x="1034" y="338"/>
                  </a:lnTo>
                  <a:lnTo>
                    <a:pt x="1050" y="345"/>
                  </a:lnTo>
                  <a:lnTo>
                    <a:pt x="1065" y="353"/>
                  </a:lnTo>
                  <a:lnTo>
                    <a:pt x="1080" y="361"/>
                  </a:lnTo>
                  <a:lnTo>
                    <a:pt x="1094" y="371"/>
                  </a:lnTo>
                  <a:lnTo>
                    <a:pt x="1108" y="381"/>
                  </a:lnTo>
                  <a:lnTo>
                    <a:pt x="1121" y="391"/>
                  </a:lnTo>
                  <a:lnTo>
                    <a:pt x="1133" y="403"/>
                  </a:lnTo>
                  <a:lnTo>
                    <a:pt x="1145" y="415"/>
                  </a:lnTo>
                  <a:lnTo>
                    <a:pt x="1156" y="427"/>
                  </a:lnTo>
                  <a:lnTo>
                    <a:pt x="1167" y="441"/>
                  </a:lnTo>
                  <a:lnTo>
                    <a:pt x="1176" y="455"/>
                  </a:lnTo>
                  <a:lnTo>
                    <a:pt x="1185" y="469"/>
                  </a:lnTo>
                  <a:lnTo>
                    <a:pt x="1193" y="484"/>
                  </a:lnTo>
                  <a:lnTo>
                    <a:pt x="1201" y="500"/>
                  </a:lnTo>
                  <a:lnTo>
                    <a:pt x="1208" y="517"/>
                  </a:lnTo>
                  <a:lnTo>
                    <a:pt x="1214" y="535"/>
                  </a:lnTo>
                  <a:lnTo>
                    <a:pt x="1219" y="552"/>
                  </a:lnTo>
                  <a:lnTo>
                    <a:pt x="1224" y="570"/>
                  </a:lnTo>
                  <a:lnTo>
                    <a:pt x="1227" y="589"/>
                  </a:lnTo>
                  <a:lnTo>
                    <a:pt x="1230" y="608"/>
                  </a:lnTo>
                  <a:lnTo>
                    <a:pt x="1232" y="628"/>
                  </a:lnTo>
                  <a:lnTo>
                    <a:pt x="1233" y="648"/>
                  </a:lnTo>
                  <a:lnTo>
                    <a:pt x="1234" y="669"/>
                  </a:lnTo>
                  <a:close/>
                  <a:moveTo>
                    <a:pt x="1694" y="967"/>
                  </a:moveTo>
                  <a:lnTo>
                    <a:pt x="1694" y="847"/>
                  </a:lnTo>
                  <a:lnTo>
                    <a:pt x="1693" y="800"/>
                  </a:lnTo>
                  <a:lnTo>
                    <a:pt x="1691" y="753"/>
                  </a:lnTo>
                  <a:lnTo>
                    <a:pt x="1687" y="708"/>
                  </a:lnTo>
                  <a:lnTo>
                    <a:pt x="1682" y="664"/>
                  </a:lnTo>
                  <a:lnTo>
                    <a:pt x="1675" y="622"/>
                  </a:lnTo>
                  <a:lnTo>
                    <a:pt x="1667" y="580"/>
                  </a:lnTo>
                  <a:lnTo>
                    <a:pt x="1657" y="540"/>
                  </a:lnTo>
                  <a:lnTo>
                    <a:pt x="1646" y="499"/>
                  </a:lnTo>
                  <a:lnTo>
                    <a:pt x="1633" y="461"/>
                  </a:lnTo>
                  <a:lnTo>
                    <a:pt x="1618" y="425"/>
                  </a:lnTo>
                  <a:lnTo>
                    <a:pt x="1602" y="389"/>
                  </a:lnTo>
                  <a:lnTo>
                    <a:pt x="1585" y="355"/>
                  </a:lnTo>
                  <a:lnTo>
                    <a:pt x="1566" y="323"/>
                  </a:lnTo>
                  <a:lnTo>
                    <a:pt x="1544" y="291"/>
                  </a:lnTo>
                  <a:lnTo>
                    <a:pt x="1522" y="262"/>
                  </a:lnTo>
                  <a:lnTo>
                    <a:pt x="1498" y="232"/>
                  </a:lnTo>
                  <a:lnTo>
                    <a:pt x="1473" y="205"/>
                  </a:lnTo>
                  <a:lnTo>
                    <a:pt x="1446" y="180"/>
                  </a:lnTo>
                  <a:lnTo>
                    <a:pt x="1418" y="156"/>
                  </a:lnTo>
                  <a:lnTo>
                    <a:pt x="1388" y="133"/>
                  </a:lnTo>
                  <a:lnTo>
                    <a:pt x="1356" y="113"/>
                  </a:lnTo>
                  <a:lnTo>
                    <a:pt x="1323" y="94"/>
                  </a:lnTo>
                  <a:lnTo>
                    <a:pt x="1288" y="76"/>
                  </a:lnTo>
                  <a:lnTo>
                    <a:pt x="1251" y="61"/>
                  </a:lnTo>
                  <a:lnTo>
                    <a:pt x="1213" y="47"/>
                  </a:lnTo>
                  <a:lnTo>
                    <a:pt x="1174" y="34"/>
                  </a:lnTo>
                  <a:lnTo>
                    <a:pt x="1133" y="24"/>
                  </a:lnTo>
                  <a:lnTo>
                    <a:pt x="1091" y="15"/>
                  </a:lnTo>
                  <a:lnTo>
                    <a:pt x="1046" y="9"/>
                  </a:lnTo>
                  <a:lnTo>
                    <a:pt x="1000" y="4"/>
                  </a:lnTo>
                  <a:lnTo>
                    <a:pt x="952" y="1"/>
                  </a:lnTo>
                  <a:lnTo>
                    <a:pt x="903" y="0"/>
                  </a:lnTo>
                  <a:lnTo>
                    <a:pt x="846" y="1"/>
                  </a:lnTo>
                  <a:lnTo>
                    <a:pt x="790" y="4"/>
                  </a:lnTo>
                  <a:lnTo>
                    <a:pt x="736" y="10"/>
                  </a:lnTo>
                  <a:lnTo>
                    <a:pt x="684" y="18"/>
                  </a:lnTo>
                  <a:lnTo>
                    <a:pt x="634" y="28"/>
                  </a:lnTo>
                  <a:lnTo>
                    <a:pt x="587" y="39"/>
                  </a:lnTo>
                  <a:lnTo>
                    <a:pt x="541" y="54"/>
                  </a:lnTo>
                  <a:lnTo>
                    <a:pt x="497" y="70"/>
                  </a:lnTo>
                  <a:lnTo>
                    <a:pt x="456" y="88"/>
                  </a:lnTo>
                  <a:lnTo>
                    <a:pt x="415" y="108"/>
                  </a:lnTo>
                  <a:lnTo>
                    <a:pt x="377" y="130"/>
                  </a:lnTo>
                  <a:lnTo>
                    <a:pt x="341" y="153"/>
                  </a:lnTo>
                  <a:lnTo>
                    <a:pt x="307" y="179"/>
                  </a:lnTo>
                  <a:lnTo>
                    <a:pt x="275" y="207"/>
                  </a:lnTo>
                  <a:lnTo>
                    <a:pt x="245" y="236"/>
                  </a:lnTo>
                  <a:lnTo>
                    <a:pt x="216" y="268"/>
                  </a:lnTo>
                  <a:lnTo>
                    <a:pt x="190" y="301"/>
                  </a:lnTo>
                  <a:lnTo>
                    <a:pt x="164" y="336"/>
                  </a:lnTo>
                  <a:lnTo>
                    <a:pt x="141" y="372"/>
                  </a:lnTo>
                  <a:lnTo>
                    <a:pt x="120" y="410"/>
                  </a:lnTo>
                  <a:lnTo>
                    <a:pt x="100" y="449"/>
                  </a:lnTo>
                  <a:lnTo>
                    <a:pt x="83" y="491"/>
                  </a:lnTo>
                  <a:lnTo>
                    <a:pt x="67" y="534"/>
                  </a:lnTo>
                  <a:lnTo>
                    <a:pt x="53" y="578"/>
                  </a:lnTo>
                  <a:lnTo>
                    <a:pt x="40" y="624"/>
                  </a:lnTo>
                  <a:lnTo>
                    <a:pt x="30" y="671"/>
                  </a:lnTo>
                  <a:lnTo>
                    <a:pt x="21" y="720"/>
                  </a:lnTo>
                  <a:lnTo>
                    <a:pt x="13" y="770"/>
                  </a:lnTo>
                  <a:lnTo>
                    <a:pt x="8" y="822"/>
                  </a:lnTo>
                  <a:lnTo>
                    <a:pt x="4" y="874"/>
                  </a:lnTo>
                  <a:lnTo>
                    <a:pt x="1" y="928"/>
                  </a:lnTo>
                  <a:lnTo>
                    <a:pt x="0" y="983"/>
                  </a:lnTo>
                  <a:lnTo>
                    <a:pt x="1" y="1047"/>
                  </a:lnTo>
                  <a:lnTo>
                    <a:pt x="4" y="1110"/>
                  </a:lnTo>
                  <a:lnTo>
                    <a:pt x="9" y="1172"/>
                  </a:lnTo>
                  <a:lnTo>
                    <a:pt x="15" y="1232"/>
                  </a:lnTo>
                  <a:lnTo>
                    <a:pt x="24" y="1291"/>
                  </a:lnTo>
                  <a:lnTo>
                    <a:pt x="34" y="1349"/>
                  </a:lnTo>
                  <a:lnTo>
                    <a:pt x="47" y="1406"/>
                  </a:lnTo>
                  <a:lnTo>
                    <a:pt x="61" y="1461"/>
                  </a:lnTo>
                  <a:lnTo>
                    <a:pt x="77" y="1514"/>
                  </a:lnTo>
                  <a:lnTo>
                    <a:pt x="96" y="1566"/>
                  </a:lnTo>
                  <a:lnTo>
                    <a:pt x="116" y="1616"/>
                  </a:lnTo>
                  <a:lnTo>
                    <a:pt x="139" y="1666"/>
                  </a:lnTo>
                  <a:lnTo>
                    <a:pt x="163" y="1712"/>
                  </a:lnTo>
                  <a:lnTo>
                    <a:pt x="191" y="1757"/>
                  </a:lnTo>
                  <a:lnTo>
                    <a:pt x="220" y="1800"/>
                  </a:lnTo>
                  <a:lnTo>
                    <a:pt x="250" y="1841"/>
                  </a:lnTo>
                  <a:lnTo>
                    <a:pt x="284" y="1881"/>
                  </a:lnTo>
                  <a:lnTo>
                    <a:pt x="319" y="1919"/>
                  </a:lnTo>
                  <a:lnTo>
                    <a:pt x="356" y="1953"/>
                  </a:lnTo>
                  <a:lnTo>
                    <a:pt x="396" y="1986"/>
                  </a:lnTo>
                  <a:lnTo>
                    <a:pt x="438" y="2017"/>
                  </a:lnTo>
                  <a:lnTo>
                    <a:pt x="483" y="2045"/>
                  </a:lnTo>
                  <a:lnTo>
                    <a:pt x="530" y="2071"/>
                  </a:lnTo>
                  <a:lnTo>
                    <a:pt x="579" y="2094"/>
                  </a:lnTo>
                  <a:lnTo>
                    <a:pt x="630" y="2115"/>
                  </a:lnTo>
                  <a:lnTo>
                    <a:pt x="683" y="2133"/>
                  </a:lnTo>
                  <a:lnTo>
                    <a:pt x="740" y="2149"/>
                  </a:lnTo>
                  <a:lnTo>
                    <a:pt x="799" y="2161"/>
                  </a:lnTo>
                  <a:lnTo>
                    <a:pt x="859" y="2172"/>
                  </a:lnTo>
                  <a:lnTo>
                    <a:pt x="922" y="2179"/>
                  </a:lnTo>
                  <a:lnTo>
                    <a:pt x="988" y="2183"/>
                  </a:lnTo>
                  <a:lnTo>
                    <a:pt x="1057" y="2185"/>
                  </a:lnTo>
                  <a:lnTo>
                    <a:pt x="1095" y="2185"/>
                  </a:lnTo>
                  <a:lnTo>
                    <a:pt x="1132" y="2184"/>
                  </a:lnTo>
                  <a:lnTo>
                    <a:pt x="1169" y="2182"/>
                  </a:lnTo>
                  <a:lnTo>
                    <a:pt x="1206" y="2180"/>
                  </a:lnTo>
                  <a:lnTo>
                    <a:pt x="1243" y="2178"/>
                  </a:lnTo>
                  <a:lnTo>
                    <a:pt x="1281" y="2174"/>
                  </a:lnTo>
                  <a:lnTo>
                    <a:pt x="1318" y="2170"/>
                  </a:lnTo>
                  <a:lnTo>
                    <a:pt x="1354" y="2166"/>
                  </a:lnTo>
                  <a:lnTo>
                    <a:pt x="1391" y="2161"/>
                  </a:lnTo>
                  <a:lnTo>
                    <a:pt x="1427" y="2155"/>
                  </a:lnTo>
                  <a:lnTo>
                    <a:pt x="1464" y="2148"/>
                  </a:lnTo>
                  <a:lnTo>
                    <a:pt x="1500" y="2141"/>
                  </a:lnTo>
                  <a:lnTo>
                    <a:pt x="1536" y="2133"/>
                  </a:lnTo>
                  <a:lnTo>
                    <a:pt x="1573" y="2124"/>
                  </a:lnTo>
                  <a:lnTo>
                    <a:pt x="1610" y="2115"/>
                  </a:lnTo>
                  <a:lnTo>
                    <a:pt x="1646" y="2105"/>
                  </a:lnTo>
                  <a:lnTo>
                    <a:pt x="1646" y="1766"/>
                  </a:lnTo>
                  <a:lnTo>
                    <a:pt x="1597" y="1781"/>
                  </a:lnTo>
                  <a:lnTo>
                    <a:pt x="1546" y="1794"/>
                  </a:lnTo>
                  <a:lnTo>
                    <a:pt x="1495" y="1807"/>
                  </a:lnTo>
                  <a:lnTo>
                    <a:pt x="1444" y="1817"/>
                  </a:lnTo>
                  <a:lnTo>
                    <a:pt x="1418" y="1822"/>
                  </a:lnTo>
                  <a:lnTo>
                    <a:pt x="1393" y="1826"/>
                  </a:lnTo>
                  <a:lnTo>
                    <a:pt x="1367" y="1830"/>
                  </a:lnTo>
                  <a:lnTo>
                    <a:pt x="1342" y="1833"/>
                  </a:lnTo>
                  <a:lnTo>
                    <a:pt x="1317" y="1835"/>
                  </a:lnTo>
                  <a:lnTo>
                    <a:pt x="1292" y="1837"/>
                  </a:lnTo>
                  <a:lnTo>
                    <a:pt x="1266" y="1838"/>
                  </a:lnTo>
                  <a:lnTo>
                    <a:pt x="1242" y="1838"/>
                  </a:lnTo>
                  <a:lnTo>
                    <a:pt x="1198" y="1837"/>
                  </a:lnTo>
                  <a:lnTo>
                    <a:pt x="1155" y="1833"/>
                  </a:lnTo>
                  <a:lnTo>
                    <a:pt x="1113" y="1827"/>
                  </a:lnTo>
                  <a:lnTo>
                    <a:pt x="1072" y="1819"/>
                  </a:lnTo>
                  <a:lnTo>
                    <a:pt x="1032" y="1809"/>
                  </a:lnTo>
                  <a:lnTo>
                    <a:pt x="992" y="1796"/>
                  </a:lnTo>
                  <a:lnTo>
                    <a:pt x="954" y="1781"/>
                  </a:lnTo>
                  <a:lnTo>
                    <a:pt x="918" y="1765"/>
                  </a:lnTo>
                  <a:lnTo>
                    <a:pt x="882" y="1746"/>
                  </a:lnTo>
                  <a:lnTo>
                    <a:pt x="848" y="1726"/>
                  </a:lnTo>
                  <a:lnTo>
                    <a:pt x="815" y="1704"/>
                  </a:lnTo>
                  <a:lnTo>
                    <a:pt x="783" y="1680"/>
                  </a:lnTo>
                  <a:lnTo>
                    <a:pt x="753" y="1655"/>
                  </a:lnTo>
                  <a:lnTo>
                    <a:pt x="723" y="1627"/>
                  </a:lnTo>
                  <a:lnTo>
                    <a:pt x="695" y="1599"/>
                  </a:lnTo>
                  <a:lnTo>
                    <a:pt x="668" y="1569"/>
                  </a:lnTo>
                  <a:lnTo>
                    <a:pt x="643" y="1538"/>
                  </a:lnTo>
                  <a:lnTo>
                    <a:pt x="620" y="1506"/>
                  </a:lnTo>
                  <a:lnTo>
                    <a:pt x="597" y="1473"/>
                  </a:lnTo>
                  <a:lnTo>
                    <a:pt x="577" y="1438"/>
                  </a:lnTo>
                  <a:lnTo>
                    <a:pt x="557" y="1403"/>
                  </a:lnTo>
                  <a:lnTo>
                    <a:pt x="539" y="1367"/>
                  </a:lnTo>
                  <a:lnTo>
                    <a:pt x="523" y="1328"/>
                  </a:lnTo>
                  <a:lnTo>
                    <a:pt x="509" y="1290"/>
                  </a:lnTo>
                  <a:lnTo>
                    <a:pt x="496" y="1252"/>
                  </a:lnTo>
                  <a:lnTo>
                    <a:pt x="484" y="1213"/>
                  </a:lnTo>
                  <a:lnTo>
                    <a:pt x="475" y="1173"/>
                  </a:lnTo>
                  <a:lnTo>
                    <a:pt x="467" y="1133"/>
                  </a:lnTo>
                  <a:lnTo>
                    <a:pt x="461" y="1092"/>
                  </a:lnTo>
                  <a:lnTo>
                    <a:pt x="456" y="1050"/>
                  </a:lnTo>
                  <a:lnTo>
                    <a:pt x="453" y="1009"/>
                  </a:lnTo>
                  <a:lnTo>
                    <a:pt x="452" y="967"/>
                  </a:lnTo>
                  <a:lnTo>
                    <a:pt x="1694" y="96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  <a:cs typeface="+mn-cs"/>
              </a:endParaRPr>
            </a:p>
          </p:txBody>
        </p:sp>
        <p:sp>
          <p:nvSpPr>
            <p:cNvPr id="17" name="Freeform 13"/>
            <p:cNvSpPr>
              <a:spLocks/>
            </p:cNvSpPr>
            <p:nvPr/>
          </p:nvSpPr>
          <p:spPr bwMode="gray">
            <a:xfrm>
              <a:off x="2546350" y="2187575"/>
              <a:ext cx="330200" cy="33655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347"/>
                </a:cxn>
                <a:cxn ang="0">
                  <a:pos x="11" y="351"/>
                </a:cxn>
                <a:cxn ang="0">
                  <a:pos x="42" y="363"/>
                </a:cxn>
                <a:cxn ang="0">
                  <a:pos x="91" y="382"/>
                </a:cxn>
                <a:cxn ang="0">
                  <a:pos x="154" y="407"/>
                </a:cxn>
                <a:cxn ang="0">
                  <a:pos x="231" y="437"/>
                </a:cxn>
                <a:cxn ang="0">
                  <a:pos x="316" y="470"/>
                </a:cxn>
                <a:cxn ang="0">
                  <a:pos x="409" y="506"/>
                </a:cxn>
                <a:cxn ang="0">
                  <a:pos x="506" y="543"/>
                </a:cxn>
                <a:cxn ang="0">
                  <a:pos x="605" y="582"/>
                </a:cxn>
                <a:cxn ang="0">
                  <a:pos x="702" y="620"/>
                </a:cxn>
                <a:cxn ang="0">
                  <a:pos x="797" y="656"/>
                </a:cxn>
                <a:cxn ang="0">
                  <a:pos x="884" y="690"/>
                </a:cxn>
                <a:cxn ang="0">
                  <a:pos x="963" y="722"/>
                </a:cxn>
                <a:cxn ang="0">
                  <a:pos x="1031" y="748"/>
                </a:cxn>
                <a:cxn ang="0">
                  <a:pos x="1085" y="768"/>
                </a:cxn>
                <a:cxn ang="0">
                  <a:pos x="1121" y="783"/>
                </a:cxn>
                <a:cxn ang="0">
                  <a:pos x="1085" y="795"/>
                </a:cxn>
                <a:cxn ang="0">
                  <a:pos x="1031" y="815"/>
                </a:cxn>
                <a:cxn ang="0">
                  <a:pos x="963" y="840"/>
                </a:cxn>
                <a:cxn ang="0">
                  <a:pos x="884" y="869"/>
                </a:cxn>
                <a:cxn ang="0">
                  <a:pos x="797" y="903"/>
                </a:cxn>
                <a:cxn ang="0">
                  <a:pos x="702" y="939"/>
                </a:cxn>
                <a:cxn ang="0">
                  <a:pos x="605" y="976"/>
                </a:cxn>
                <a:cxn ang="0">
                  <a:pos x="506" y="1015"/>
                </a:cxn>
                <a:cxn ang="0">
                  <a:pos x="409" y="1052"/>
                </a:cxn>
                <a:cxn ang="0">
                  <a:pos x="316" y="1087"/>
                </a:cxn>
                <a:cxn ang="0">
                  <a:pos x="231" y="1120"/>
                </a:cxn>
                <a:cxn ang="0">
                  <a:pos x="154" y="1150"/>
                </a:cxn>
                <a:cxn ang="0">
                  <a:pos x="91" y="1174"/>
                </a:cxn>
                <a:cxn ang="0">
                  <a:pos x="42" y="1193"/>
                </a:cxn>
                <a:cxn ang="0">
                  <a:pos x="11" y="1205"/>
                </a:cxn>
                <a:cxn ang="0">
                  <a:pos x="0" y="1209"/>
                </a:cxn>
                <a:cxn ang="0">
                  <a:pos x="0" y="1549"/>
                </a:cxn>
                <a:cxn ang="0">
                  <a:pos x="1516" y="935"/>
                </a:cxn>
                <a:cxn ang="0">
                  <a:pos x="1516" y="621"/>
                </a:cxn>
                <a:cxn ang="0">
                  <a:pos x="0" y="0"/>
                </a:cxn>
              </a:cxnLst>
              <a:rect l="0" t="0" r="r" b="b"/>
              <a:pathLst>
                <a:path w="1516" h="1549">
                  <a:moveTo>
                    <a:pt x="0" y="0"/>
                  </a:moveTo>
                  <a:lnTo>
                    <a:pt x="0" y="347"/>
                  </a:lnTo>
                  <a:lnTo>
                    <a:pt x="11" y="351"/>
                  </a:lnTo>
                  <a:lnTo>
                    <a:pt x="42" y="363"/>
                  </a:lnTo>
                  <a:lnTo>
                    <a:pt x="91" y="382"/>
                  </a:lnTo>
                  <a:lnTo>
                    <a:pt x="154" y="407"/>
                  </a:lnTo>
                  <a:lnTo>
                    <a:pt x="231" y="437"/>
                  </a:lnTo>
                  <a:lnTo>
                    <a:pt x="316" y="470"/>
                  </a:lnTo>
                  <a:lnTo>
                    <a:pt x="409" y="506"/>
                  </a:lnTo>
                  <a:lnTo>
                    <a:pt x="506" y="543"/>
                  </a:lnTo>
                  <a:lnTo>
                    <a:pt x="605" y="582"/>
                  </a:lnTo>
                  <a:lnTo>
                    <a:pt x="702" y="620"/>
                  </a:lnTo>
                  <a:lnTo>
                    <a:pt x="797" y="656"/>
                  </a:lnTo>
                  <a:lnTo>
                    <a:pt x="884" y="690"/>
                  </a:lnTo>
                  <a:lnTo>
                    <a:pt x="963" y="722"/>
                  </a:lnTo>
                  <a:lnTo>
                    <a:pt x="1031" y="748"/>
                  </a:lnTo>
                  <a:lnTo>
                    <a:pt x="1085" y="768"/>
                  </a:lnTo>
                  <a:lnTo>
                    <a:pt x="1121" y="783"/>
                  </a:lnTo>
                  <a:lnTo>
                    <a:pt x="1085" y="795"/>
                  </a:lnTo>
                  <a:lnTo>
                    <a:pt x="1031" y="815"/>
                  </a:lnTo>
                  <a:lnTo>
                    <a:pt x="963" y="840"/>
                  </a:lnTo>
                  <a:lnTo>
                    <a:pt x="884" y="869"/>
                  </a:lnTo>
                  <a:lnTo>
                    <a:pt x="797" y="903"/>
                  </a:lnTo>
                  <a:lnTo>
                    <a:pt x="702" y="939"/>
                  </a:lnTo>
                  <a:lnTo>
                    <a:pt x="605" y="976"/>
                  </a:lnTo>
                  <a:lnTo>
                    <a:pt x="506" y="1015"/>
                  </a:lnTo>
                  <a:lnTo>
                    <a:pt x="409" y="1052"/>
                  </a:lnTo>
                  <a:lnTo>
                    <a:pt x="316" y="1087"/>
                  </a:lnTo>
                  <a:lnTo>
                    <a:pt x="231" y="1120"/>
                  </a:lnTo>
                  <a:lnTo>
                    <a:pt x="154" y="1150"/>
                  </a:lnTo>
                  <a:lnTo>
                    <a:pt x="91" y="1174"/>
                  </a:lnTo>
                  <a:lnTo>
                    <a:pt x="42" y="1193"/>
                  </a:lnTo>
                  <a:lnTo>
                    <a:pt x="11" y="1205"/>
                  </a:lnTo>
                  <a:lnTo>
                    <a:pt x="0" y="1209"/>
                  </a:lnTo>
                  <a:lnTo>
                    <a:pt x="0" y="1549"/>
                  </a:lnTo>
                  <a:lnTo>
                    <a:pt x="1516" y="935"/>
                  </a:lnTo>
                  <a:lnTo>
                    <a:pt x="1516" y="62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  <a:cs typeface="+mn-cs"/>
              </a:endParaRPr>
            </a:p>
          </p:txBody>
        </p:sp>
        <p:sp>
          <p:nvSpPr>
            <p:cNvPr id="18" name="Freeform 14"/>
            <p:cNvSpPr>
              <a:spLocks/>
            </p:cNvSpPr>
            <p:nvPr/>
          </p:nvSpPr>
          <p:spPr bwMode="gray">
            <a:xfrm>
              <a:off x="522288" y="3679825"/>
              <a:ext cx="200025" cy="241300"/>
            </a:xfrm>
            <a:custGeom>
              <a:avLst/>
              <a:gdLst/>
              <a:ahLst/>
              <a:cxnLst>
                <a:cxn ang="0">
                  <a:pos x="710" y="1121"/>
                </a:cxn>
                <a:cxn ang="0">
                  <a:pos x="589" y="1121"/>
                </a:cxn>
                <a:cxn ang="0">
                  <a:pos x="685" y="589"/>
                </a:cxn>
                <a:cxn ang="0">
                  <a:pos x="226" y="589"/>
                </a:cxn>
                <a:cxn ang="0">
                  <a:pos x="121" y="1121"/>
                </a:cxn>
                <a:cxn ang="0">
                  <a:pos x="0" y="1121"/>
                </a:cxn>
                <a:cxn ang="0">
                  <a:pos x="218" y="0"/>
                </a:cxn>
                <a:cxn ang="0">
                  <a:pos x="339" y="0"/>
                </a:cxn>
                <a:cxn ang="0">
                  <a:pos x="242" y="484"/>
                </a:cxn>
                <a:cxn ang="0">
                  <a:pos x="710" y="484"/>
                </a:cxn>
                <a:cxn ang="0">
                  <a:pos x="799" y="0"/>
                </a:cxn>
                <a:cxn ang="0">
                  <a:pos x="927" y="0"/>
                </a:cxn>
                <a:cxn ang="0">
                  <a:pos x="710" y="1121"/>
                </a:cxn>
              </a:cxnLst>
              <a:rect l="0" t="0" r="r" b="b"/>
              <a:pathLst>
                <a:path w="927" h="1121">
                  <a:moveTo>
                    <a:pt x="710" y="1121"/>
                  </a:moveTo>
                  <a:lnTo>
                    <a:pt x="589" y="1121"/>
                  </a:lnTo>
                  <a:lnTo>
                    <a:pt x="685" y="589"/>
                  </a:lnTo>
                  <a:lnTo>
                    <a:pt x="226" y="589"/>
                  </a:lnTo>
                  <a:lnTo>
                    <a:pt x="121" y="1121"/>
                  </a:lnTo>
                  <a:lnTo>
                    <a:pt x="0" y="1121"/>
                  </a:lnTo>
                  <a:lnTo>
                    <a:pt x="218" y="0"/>
                  </a:lnTo>
                  <a:lnTo>
                    <a:pt x="339" y="0"/>
                  </a:lnTo>
                  <a:lnTo>
                    <a:pt x="242" y="484"/>
                  </a:lnTo>
                  <a:lnTo>
                    <a:pt x="710" y="484"/>
                  </a:lnTo>
                  <a:lnTo>
                    <a:pt x="799" y="0"/>
                  </a:lnTo>
                  <a:lnTo>
                    <a:pt x="927" y="0"/>
                  </a:lnTo>
                  <a:lnTo>
                    <a:pt x="710" y="112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  <a:cs typeface="+mn-cs"/>
              </a:endParaRPr>
            </a:p>
          </p:txBody>
        </p:sp>
        <p:sp>
          <p:nvSpPr>
            <p:cNvPr id="19" name="Freeform 15"/>
            <p:cNvSpPr>
              <a:spLocks noEditPoints="1"/>
            </p:cNvSpPr>
            <p:nvPr/>
          </p:nvSpPr>
          <p:spPr bwMode="gray">
            <a:xfrm>
              <a:off x="712788" y="3679825"/>
              <a:ext cx="76200" cy="241300"/>
            </a:xfrm>
            <a:custGeom>
              <a:avLst/>
              <a:gdLst/>
              <a:ahLst/>
              <a:cxnLst>
                <a:cxn ang="0">
                  <a:pos x="322" y="145"/>
                </a:cxn>
                <a:cxn ang="0">
                  <a:pos x="178" y="145"/>
                </a:cxn>
                <a:cxn ang="0">
                  <a:pos x="202" y="0"/>
                </a:cxn>
                <a:cxn ang="0">
                  <a:pos x="347" y="0"/>
                </a:cxn>
                <a:cxn ang="0">
                  <a:pos x="322" y="145"/>
                </a:cxn>
                <a:cxn ang="0">
                  <a:pos x="122" y="1121"/>
                </a:cxn>
                <a:cxn ang="0">
                  <a:pos x="0" y="1121"/>
                </a:cxn>
                <a:cxn ang="0">
                  <a:pos x="154" y="347"/>
                </a:cxn>
                <a:cxn ang="0">
                  <a:pos x="266" y="347"/>
                </a:cxn>
                <a:cxn ang="0">
                  <a:pos x="122" y="1121"/>
                </a:cxn>
              </a:cxnLst>
              <a:rect l="0" t="0" r="r" b="b"/>
              <a:pathLst>
                <a:path w="347" h="1121">
                  <a:moveTo>
                    <a:pt x="322" y="145"/>
                  </a:moveTo>
                  <a:lnTo>
                    <a:pt x="178" y="145"/>
                  </a:lnTo>
                  <a:lnTo>
                    <a:pt x="202" y="0"/>
                  </a:lnTo>
                  <a:lnTo>
                    <a:pt x="347" y="0"/>
                  </a:lnTo>
                  <a:lnTo>
                    <a:pt x="322" y="145"/>
                  </a:lnTo>
                  <a:close/>
                  <a:moveTo>
                    <a:pt x="122" y="1121"/>
                  </a:moveTo>
                  <a:lnTo>
                    <a:pt x="0" y="1121"/>
                  </a:lnTo>
                  <a:lnTo>
                    <a:pt x="154" y="347"/>
                  </a:lnTo>
                  <a:lnTo>
                    <a:pt x="266" y="347"/>
                  </a:lnTo>
                  <a:lnTo>
                    <a:pt x="122" y="112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  <a:cs typeface="+mn-cs"/>
              </a:endParaRPr>
            </a:p>
          </p:txBody>
        </p:sp>
        <p:sp>
          <p:nvSpPr>
            <p:cNvPr id="20" name="Freeform 16"/>
            <p:cNvSpPr>
              <a:spLocks noEditPoints="1"/>
            </p:cNvSpPr>
            <p:nvPr/>
          </p:nvSpPr>
          <p:spPr bwMode="gray">
            <a:xfrm>
              <a:off x="760413" y="3751263"/>
              <a:ext cx="161925" cy="239712"/>
            </a:xfrm>
            <a:custGeom>
              <a:avLst/>
              <a:gdLst/>
              <a:ahLst/>
              <a:cxnLst>
                <a:cxn ang="0">
                  <a:pos x="551" y="417"/>
                </a:cxn>
                <a:cxn ang="0">
                  <a:pos x="514" y="532"/>
                </a:cxn>
                <a:cxn ang="0">
                  <a:pos x="474" y="604"/>
                </a:cxn>
                <a:cxn ang="0">
                  <a:pos x="420" y="660"/>
                </a:cxn>
                <a:cxn ang="0">
                  <a:pos x="353" y="690"/>
                </a:cxn>
                <a:cxn ang="0">
                  <a:pos x="297" y="690"/>
                </a:cxn>
                <a:cxn ang="0">
                  <a:pos x="264" y="674"/>
                </a:cxn>
                <a:cxn ang="0">
                  <a:pos x="237" y="641"/>
                </a:cxn>
                <a:cxn ang="0">
                  <a:pos x="214" y="568"/>
                </a:cxn>
                <a:cxn ang="0">
                  <a:pos x="211" y="484"/>
                </a:cxn>
                <a:cxn ang="0">
                  <a:pos x="236" y="322"/>
                </a:cxn>
                <a:cxn ang="0">
                  <a:pos x="279" y="205"/>
                </a:cxn>
                <a:cxn ang="0">
                  <a:pos x="325" y="137"/>
                </a:cxn>
                <a:cxn ang="0">
                  <a:pos x="384" y="96"/>
                </a:cxn>
                <a:cxn ang="0">
                  <a:pos x="447" y="90"/>
                </a:cxn>
                <a:cxn ang="0">
                  <a:pos x="486" y="104"/>
                </a:cxn>
                <a:cxn ang="0">
                  <a:pos x="517" y="131"/>
                </a:cxn>
                <a:cxn ang="0">
                  <a:pos x="554" y="211"/>
                </a:cxn>
                <a:cxn ang="0">
                  <a:pos x="564" y="298"/>
                </a:cxn>
                <a:cxn ang="0">
                  <a:pos x="600" y="122"/>
                </a:cxn>
                <a:cxn ang="0">
                  <a:pos x="559" y="58"/>
                </a:cxn>
                <a:cxn ang="0">
                  <a:pos x="497" y="15"/>
                </a:cxn>
                <a:cxn ang="0">
                  <a:pos x="420" y="0"/>
                </a:cxn>
                <a:cxn ang="0">
                  <a:pos x="316" y="22"/>
                </a:cxn>
                <a:cxn ang="0">
                  <a:pos x="234" y="80"/>
                </a:cxn>
                <a:cxn ang="0">
                  <a:pos x="170" y="166"/>
                </a:cxn>
                <a:cxn ang="0">
                  <a:pos x="124" y="268"/>
                </a:cxn>
                <a:cxn ang="0">
                  <a:pos x="95" y="375"/>
                </a:cxn>
                <a:cxn ang="0">
                  <a:pos x="81" y="479"/>
                </a:cxn>
                <a:cxn ang="0">
                  <a:pos x="86" y="586"/>
                </a:cxn>
                <a:cxn ang="0">
                  <a:pos x="112" y="677"/>
                </a:cxn>
                <a:cxn ang="0">
                  <a:pos x="142" y="727"/>
                </a:cxn>
                <a:cxn ang="0">
                  <a:pos x="183" y="765"/>
                </a:cxn>
                <a:cxn ang="0">
                  <a:pos x="236" y="787"/>
                </a:cxn>
                <a:cxn ang="0">
                  <a:pos x="312" y="788"/>
                </a:cxn>
                <a:cxn ang="0">
                  <a:pos x="394" y="761"/>
                </a:cxn>
                <a:cxn ang="0">
                  <a:pos x="463" y="708"/>
                </a:cxn>
                <a:cxn ang="0">
                  <a:pos x="494" y="731"/>
                </a:cxn>
                <a:cxn ang="0">
                  <a:pos x="453" y="888"/>
                </a:cxn>
                <a:cxn ang="0">
                  <a:pos x="414" y="944"/>
                </a:cxn>
                <a:cxn ang="0">
                  <a:pos x="356" y="983"/>
                </a:cxn>
                <a:cxn ang="0">
                  <a:pos x="270" y="1005"/>
                </a:cxn>
                <a:cxn ang="0">
                  <a:pos x="155" y="1006"/>
                </a:cxn>
                <a:cxn ang="0">
                  <a:pos x="45" y="976"/>
                </a:cxn>
                <a:cxn ang="0">
                  <a:pos x="78" y="1092"/>
                </a:cxn>
                <a:cxn ang="0">
                  <a:pos x="202" y="1105"/>
                </a:cxn>
                <a:cxn ang="0">
                  <a:pos x="303" y="1098"/>
                </a:cxn>
                <a:cxn ang="0">
                  <a:pos x="388" y="1078"/>
                </a:cxn>
                <a:cxn ang="0">
                  <a:pos x="460" y="1042"/>
                </a:cxn>
                <a:cxn ang="0">
                  <a:pos x="516" y="989"/>
                </a:cxn>
                <a:cxn ang="0">
                  <a:pos x="558" y="919"/>
                </a:cxn>
                <a:cxn ang="0">
                  <a:pos x="588" y="831"/>
                </a:cxn>
              </a:cxnLst>
              <a:rect l="0" t="0" r="r" b="b"/>
              <a:pathLst>
                <a:path w="750" h="1105">
                  <a:moveTo>
                    <a:pt x="564" y="298"/>
                  </a:moveTo>
                  <a:lnTo>
                    <a:pt x="564" y="325"/>
                  </a:lnTo>
                  <a:lnTo>
                    <a:pt x="561" y="354"/>
                  </a:lnTo>
                  <a:lnTo>
                    <a:pt x="557" y="385"/>
                  </a:lnTo>
                  <a:lnTo>
                    <a:pt x="551" y="417"/>
                  </a:lnTo>
                  <a:lnTo>
                    <a:pt x="543" y="451"/>
                  </a:lnTo>
                  <a:lnTo>
                    <a:pt x="533" y="484"/>
                  </a:lnTo>
                  <a:lnTo>
                    <a:pt x="527" y="500"/>
                  </a:lnTo>
                  <a:lnTo>
                    <a:pt x="521" y="516"/>
                  </a:lnTo>
                  <a:lnTo>
                    <a:pt x="514" y="532"/>
                  </a:lnTo>
                  <a:lnTo>
                    <a:pt x="507" y="547"/>
                  </a:lnTo>
                  <a:lnTo>
                    <a:pt x="500" y="562"/>
                  </a:lnTo>
                  <a:lnTo>
                    <a:pt x="491" y="577"/>
                  </a:lnTo>
                  <a:lnTo>
                    <a:pt x="483" y="591"/>
                  </a:lnTo>
                  <a:lnTo>
                    <a:pt x="474" y="604"/>
                  </a:lnTo>
                  <a:lnTo>
                    <a:pt x="464" y="617"/>
                  </a:lnTo>
                  <a:lnTo>
                    <a:pt x="454" y="629"/>
                  </a:lnTo>
                  <a:lnTo>
                    <a:pt x="443" y="640"/>
                  </a:lnTo>
                  <a:lnTo>
                    <a:pt x="432" y="651"/>
                  </a:lnTo>
                  <a:lnTo>
                    <a:pt x="420" y="660"/>
                  </a:lnTo>
                  <a:lnTo>
                    <a:pt x="407" y="668"/>
                  </a:lnTo>
                  <a:lnTo>
                    <a:pt x="394" y="676"/>
                  </a:lnTo>
                  <a:lnTo>
                    <a:pt x="381" y="682"/>
                  </a:lnTo>
                  <a:lnTo>
                    <a:pt x="367" y="687"/>
                  </a:lnTo>
                  <a:lnTo>
                    <a:pt x="353" y="690"/>
                  </a:lnTo>
                  <a:lnTo>
                    <a:pt x="338" y="692"/>
                  </a:lnTo>
                  <a:lnTo>
                    <a:pt x="322" y="693"/>
                  </a:lnTo>
                  <a:lnTo>
                    <a:pt x="314" y="693"/>
                  </a:lnTo>
                  <a:lnTo>
                    <a:pt x="305" y="692"/>
                  </a:lnTo>
                  <a:lnTo>
                    <a:pt x="297" y="690"/>
                  </a:lnTo>
                  <a:lnTo>
                    <a:pt x="290" y="688"/>
                  </a:lnTo>
                  <a:lnTo>
                    <a:pt x="283" y="685"/>
                  </a:lnTo>
                  <a:lnTo>
                    <a:pt x="276" y="682"/>
                  </a:lnTo>
                  <a:lnTo>
                    <a:pt x="270" y="678"/>
                  </a:lnTo>
                  <a:lnTo>
                    <a:pt x="264" y="674"/>
                  </a:lnTo>
                  <a:lnTo>
                    <a:pt x="259" y="670"/>
                  </a:lnTo>
                  <a:lnTo>
                    <a:pt x="254" y="665"/>
                  </a:lnTo>
                  <a:lnTo>
                    <a:pt x="249" y="659"/>
                  </a:lnTo>
                  <a:lnTo>
                    <a:pt x="244" y="654"/>
                  </a:lnTo>
                  <a:lnTo>
                    <a:pt x="237" y="641"/>
                  </a:lnTo>
                  <a:lnTo>
                    <a:pt x="230" y="628"/>
                  </a:lnTo>
                  <a:lnTo>
                    <a:pt x="224" y="613"/>
                  </a:lnTo>
                  <a:lnTo>
                    <a:pt x="220" y="598"/>
                  </a:lnTo>
                  <a:lnTo>
                    <a:pt x="217" y="583"/>
                  </a:lnTo>
                  <a:lnTo>
                    <a:pt x="214" y="568"/>
                  </a:lnTo>
                  <a:lnTo>
                    <a:pt x="212" y="552"/>
                  </a:lnTo>
                  <a:lnTo>
                    <a:pt x="211" y="537"/>
                  </a:lnTo>
                  <a:lnTo>
                    <a:pt x="210" y="522"/>
                  </a:lnTo>
                  <a:lnTo>
                    <a:pt x="210" y="508"/>
                  </a:lnTo>
                  <a:lnTo>
                    <a:pt x="211" y="484"/>
                  </a:lnTo>
                  <a:lnTo>
                    <a:pt x="213" y="456"/>
                  </a:lnTo>
                  <a:lnTo>
                    <a:pt x="216" y="424"/>
                  </a:lnTo>
                  <a:lnTo>
                    <a:pt x="221" y="391"/>
                  </a:lnTo>
                  <a:lnTo>
                    <a:pt x="228" y="357"/>
                  </a:lnTo>
                  <a:lnTo>
                    <a:pt x="236" y="322"/>
                  </a:lnTo>
                  <a:lnTo>
                    <a:pt x="246" y="287"/>
                  </a:lnTo>
                  <a:lnTo>
                    <a:pt x="258" y="253"/>
                  </a:lnTo>
                  <a:lnTo>
                    <a:pt x="265" y="236"/>
                  </a:lnTo>
                  <a:lnTo>
                    <a:pt x="272" y="220"/>
                  </a:lnTo>
                  <a:lnTo>
                    <a:pt x="279" y="205"/>
                  </a:lnTo>
                  <a:lnTo>
                    <a:pt x="288" y="190"/>
                  </a:lnTo>
                  <a:lnTo>
                    <a:pt x="296" y="175"/>
                  </a:lnTo>
                  <a:lnTo>
                    <a:pt x="305" y="162"/>
                  </a:lnTo>
                  <a:lnTo>
                    <a:pt x="315" y="148"/>
                  </a:lnTo>
                  <a:lnTo>
                    <a:pt x="325" y="137"/>
                  </a:lnTo>
                  <a:lnTo>
                    <a:pt x="336" y="126"/>
                  </a:lnTo>
                  <a:lnTo>
                    <a:pt x="347" y="117"/>
                  </a:lnTo>
                  <a:lnTo>
                    <a:pt x="359" y="108"/>
                  </a:lnTo>
                  <a:lnTo>
                    <a:pt x="371" y="101"/>
                  </a:lnTo>
                  <a:lnTo>
                    <a:pt x="384" y="96"/>
                  </a:lnTo>
                  <a:lnTo>
                    <a:pt x="398" y="92"/>
                  </a:lnTo>
                  <a:lnTo>
                    <a:pt x="412" y="89"/>
                  </a:lnTo>
                  <a:lnTo>
                    <a:pt x="428" y="88"/>
                  </a:lnTo>
                  <a:lnTo>
                    <a:pt x="437" y="89"/>
                  </a:lnTo>
                  <a:lnTo>
                    <a:pt x="447" y="90"/>
                  </a:lnTo>
                  <a:lnTo>
                    <a:pt x="455" y="91"/>
                  </a:lnTo>
                  <a:lnTo>
                    <a:pt x="464" y="94"/>
                  </a:lnTo>
                  <a:lnTo>
                    <a:pt x="472" y="97"/>
                  </a:lnTo>
                  <a:lnTo>
                    <a:pt x="479" y="100"/>
                  </a:lnTo>
                  <a:lnTo>
                    <a:pt x="486" y="104"/>
                  </a:lnTo>
                  <a:lnTo>
                    <a:pt x="493" y="108"/>
                  </a:lnTo>
                  <a:lnTo>
                    <a:pt x="500" y="114"/>
                  </a:lnTo>
                  <a:lnTo>
                    <a:pt x="506" y="119"/>
                  </a:lnTo>
                  <a:lnTo>
                    <a:pt x="512" y="125"/>
                  </a:lnTo>
                  <a:lnTo>
                    <a:pt x="517" y="131"/>
                  </a:lnTo>
                  <a:lnTo>
                    <a:pt x="527" y="145"/>
                  </a:lnTo>
                  <a:lnTo>
                    <a:pt x="535" y="161"/>
                  </a:lnTo>
                  <a:lnTo>
                    <a:pt x="543" y="177"/>
                  </a:lnTo>
                  <a:lnTo>
                    <a:pt x="549" y="193"/>
                  </a:lnTo>
                  <a:lnTo>
                    <a:pt x="554" y="211"/>
                  </a:lnTo>
                  <a:lnTo>
                    <a:pt x="558" y="228"/>
                  </a:lnTo>
                  <a:lnTo>
                    <a:pt x="561" y="246"/>
                  </a:lnTo>
                  <a:lnTo>
                    <a:pt x="563" y="264"/>
                  </a:lnTo>
                  <a:lnTo>
                    <a:pt x="564" y="281"/>
                  </a:lnTo>
                  <a:lnTo>
                    <a:pt x="564" y="298"/>
                  </a:lnTo>
                  <a:close/>
                  <a:moveTo>
                    <a:pt x="750" y="16"/>
                  </a:moveTo>
                  <a:lnTo>
                    <a:pt x="629" y="16"/>
                  </a:lnTo>
                  <a:lnTo>
                    <a:pt x="613" y="136"/>
                  </a:lnTo>
                  <a:lnTo>
                    <a:pt x="605" y="136"/>
                  </a:lnTo>
                  <a:lnTo>
                    <a:pt x="600" y="122"/>
                  </a:lnTo>
                  <a:lnTo>
                    <a:pt x="593" y="108"/>
                  </a:lnTo>
                  <a:lnTo>
                    <a:pt x="586" y="94"/>
                  </a:lnTo>
                  <a:lnTo>
                    <a:pt x="578" y="81"/>
                  </a:lnTo>
                  <a:lnTo>
                    <a:pt x="569" y="69"/>
                  </a:lnTo>
                  <a:lnTo>
                    <a:pt x="559" y="58"/>
                  </a:lnTo>
                  <a:lnTo>
                    <a:pt x="548" y="48"/>
                  </a:lnTo>
                  <a:lnTo>
                    <a:pt x="536" y="38"/>
                  </a:lnTo>
                  <a:lnTo>
                    <a:pt x="524" y="30"/>
                  </a:lnTo>
                  <a:lnTo>
                    <a:pt x="511" y="22"/>
                  </a:lnTo>
                  <a:lnTo>
                    <a:pt x="497" y="15"/>
                  </a:lnTo>
                  <a:lnTo>
                    <a:pt x="483" y="10"/>
                  </a:lnTo>
                  <a:lnTo>
                    <a:pt x="468" y="6"/>
                  </a:lnTo>
                  <a:lnTo>
                    <a:pt x="452" y="2"/>
                  </a:lnTo>
                  <a:lnTo>
                    <a:pt x="436" y="1"/>
                  </a:lnTo>
                  <a:lnTo>
                    <a:pt x="420" y="0"/>
                  </a:lnTo>
                  <a:lnTo>
                    <a:pt x="397" y="1"/>
                  </a:lnTo>
                  <a:lnTo>
                    <a:pt x="375" y="4"/>
                  </a:lnTo>
                  <a:lnTo>
                    <a:pt x="355" y="8"/>
                  </a:lnTo>
                  <a:lnTo>
                    <a:pt x="335" y="14"/>
                  </a:lnTo>
                  <a:lnTo>
                    <a:pt x="316" y="22"/>
                  </a:lnTo>
                  <a:lnTo>
                    <a:pt x="298" y="31"/>
                  </a:lnTo>
                  <a:lnTo>
                    <a:pt x="281" y="41"/>
                  </a:lnTo>
                  <a:lnTo>
                    <a:pt x="264" y="53"/>
                  </a:lnTo>
                  <a:lnTo>
                    <a:pt x="249" y="66"/>
                  </a:lnTo>
                  <a:lnTo>
                    <a:pt x="234" y="80"/>
                  </a:lnTo>
                  <a:lnTo>
                    <a:pt x="219" y="96"/>
                  </a:lnTo>
                  <a:lnTo>
                    <a:pt x="206" y="112"/>
                  </a:lnTo>
                  <a:lnTo>
                    <a:pt x="193" y="129"/>
                  </a:lnTo>
                  <a:lnTo>
                    <a:pt x="181" y="147"/>
                  </a:lnTo>
                  <a:lnTo>
                    <a:pt x="170" y="166"/>
                  </a:lnTo>
                  <a:lnTo>
                    <a:pt x="160" y="186"/>
                  </a:lnTo>
                  <a:lnTo>
                    <a:pt x="150" y="206"/>
                  </a:lnTo>
                  <a:lnTo>
                    <a:pt x="140" y="226"/>
                  </a:lnTo>
                  <a:lnTo>
                    <a:pt x="131" y="247"/>
                  </a:lnTo>
                  <a:lnTo>
                    <a:pt x="124" y="268"/>
                  </a:lnTo>
                  <a:lnTo>
                    <a:pt x="116" y="289"/>
                  </a:lnTo>
                  <a:lnTo>
                    <a:pt x="110" y="310"/>
                  </a:lnTo>
                  <a:lnTo>
                    <a:pt x="104" y="332"/>
                  </a:lnTo>
                  <a:lnTo>
                    <a:pt x="99" y="353"/>
                  </a:lnTo>
                  <a:lnTo>
                    <a:pt x="95" y="375"/>
                  </a:lnTo>
                  <a:lnTo>
                    <a:pt x="91" y="396"/>
                  </a:lnTo>
                  <a:lnTo>
                    <a:pt x="87" y="417"/>
                  </a:lnTo>
                  <a:lnTo>
                    <a:pt x="85" y="438"/>
                  </a:lnTo>
                  <a:lnTo>
                    <a:pt x="83" y="459"/>
                  </a:lnTo>
                  <a:lnTo>
                    <a:pt x="81" y="479"/>
                  </a:lnTo>
                  <a:lnTo>
                    <a:pt x="81" y="498"/>
                  </a:lnTo>
                  <a:lnTo>
                    <a:pt x="80" y="516"/>
                  </a:lnTo>
                  <a:lnTo>
                    <a:pt x="81" y="539"/>
                  </a:lnTo>
                  <a:lnTo>
                    <a:pt x="83" y="563"/>
                  </a:lnTo>
                  <a:lnTo>
                    <a:pt x="86" y="586"/>
                  </a:lnTo>
                  <a:lnTo>
                    <a:pt x="90" y="610"/>
                  </a:lnTo>
                  <a:lnTo>
                    <a:pt x="96" y="633"/>
                  </a:lnTo>
                  <a:lnTo>
                    <a:pt x="103" y="656"/>
                  </a:lnTo>
                  <a:lnTo>
                    <a:pt x="107" y="667"/>
                  </a:lnTo>
                  <a:lnTo>
                    <a:pt x="112" y="677"/>
                  </a:lnTo>
                  <a:lnTo>
                    <a:pt x="117" y="688"/>
                  </a:lnTo>
                  <a:lnTo>
                    <a:pt x="122" y="698"/>
                  </a:lnTo>
                  <a:lnTo>
                    <a:pt x="128" y="708"/>
                  </a:lnTo>
                  <a:lnTo>
                    <a:pt x="135" y="717"/>
                  </a:lnTo>
                  <a:lnTo>
                    <a:pt x="142" y="727"/>
                  </a:lnTo>
                  <a:lnTo>
                    <a:pt x="150" y="736"/>
                  </a:lnTo>
                  <a:lnTo>
                    <a:pt x="157" y="744"/>
                  </a:lnTo>
                  <a:lnTo>
                    <a:pt x="165" y="751"/>
                  </a:lnTo>
                  <a:lnTo>
                    <a:pt x="174" y="758"/>
                  </a:lnTo>
                  <a:lnTo>
                    <a:pt x="183" y="765"/>
                  </a:lnTo>
                  <a:lnTo>
                    <a:pt x="193" y="770"/>
                  </a:lnTo>
                  <a:lnTo>
                    <a:pt x="203" y="776"/>
                  </a:lnTo>
                  <a:lnTo>
                    <a:pt x="213" y="780"/>
                  </a:lnTo>
                  <a:lnTo>
                    <a:pt x="224" y="784"/>
                  </a:lnTo>
                  <a:lnTo>
                    <a:pt x="236" y="787"/>
                  </a:lnTo>
                  <a:lnTo>
                    <a:pt x="248" y="789"/>
                  </a:lnTo>
                  <a:lnTo>
                    <a:pt x="261" y="790"/>
                  </a:lnTo>
                  <a:lnTo>
                    <a:pt x="274" y="790"/>
                  </a:lnTo>
                  <a:lnTo>
                    <a:pt x="293" y="790"/>
                  </a:lnTo>
                  <a:lnTo>
                    <a:pt x="312" y="788"/>
                  </a:lnTo>
                  <a:lnTo>
                    <a:pt x="330" y="785"/>
                  </a:lnTo>
                  <a:lnTo>
                    <a:pt x="347" y="780"/>
                  </a:lnTo>
                  <a:lnTo>
                    <a:pt x="363" y="775"/>
                  </a:lnTo>
                  <a:lnTo>
                    <a:pt x="379" y="768"/>
                  </a:lnTo>
                  <a:lnTo>
                    <a:pt x="394" y="761"/>
                  </a:lnTo>
                  <a:lnTo>
                    <a:pt x="409" y="752"/>
                  </a:lnTo>
                  <a:lnTo>
                    <a:pt x="424" y="743"/>
                  </a:lnTo>
                  <a:lnTo>
                    <a:pt x="437" y="732"/>
                  </a:lnTo>
                  <a:lnTo>
                    <a:pt x="450" y="721"/>
                  </a:lnTo>
                  <a:lnTo>
                    <a:pt x="463" y="708"/>
                  </a:lnTo>
                  <a:lnTo>
                    <a:pt x="475" y="695"/>
                  </a:lnTo>
                  <a:lnTo>
                    <a:pt x="486" y="682"/>
                  </a:lnTo>
                  <a:lnTo>
                    <a:pt x="497" y="668"/>
                  </a:lnTo>
                  <a:lnTo>
                    <a:pt x="508" y="653"/>
                  </a:lnTo>
                  <a:lnTo>
                    <a:pt x="494" y="731"/>
                  </a:lnTo>
                  <a:lnTo>
                    <a:pt x="481" y="801"/>
                  </a:lnTo>
                  <a:lnTo>
                    <a:pt x="473" y="832"/>
                  </a:lnTo>
                  <a:lnTo>
                    <a:pt x="464" y="861"/>
                  </a:lnTo>
                  <a:lnTo>
                    <a:pt x="459" y="875"/>
                  </a:lnTo>
                  <a:lnTo>
                    <a:pt x="453" y="888"/>
                  </a:lnTo>
                  <a:lnTo>
                    <a:pt x="447" y="900"/>
                  </a:lnTo>
                  <a:lnTo>
                    <a:pt x="440" y="912"/>
                  </a:lnTo>
                  <a:lnTo>
                    <a:pt x="432" y="923"/>
                  </a:lnTo>
                  <a:lnTo>
                    <a:pt x="424" y="934"/>
                  </a:lnTo>
                  <a:lnTo>
                    <a:pt x="414" y="944"/>
                  </a:lnTo>
                  <a:lnTo>
                    <a:pt x="404" y="953"/>
                  </a:lnTo>
                  <a:lnTo>
                    <a:pt x="394" y="961"/>
                  </a:lnTo>
                  <a:lnTo>
                    <a:pt x="382" y="969"/>
                  </a:lnTo>
                  <a:lnTo>
                    <a:pt x="369" y="976"/>
                  </a:lnTo>
                  <a:lnTo>
                    <a:pt x="356" y="983"/>
                  </a:lnTo>
                  <a:lnTo>
                    <a:pt x="341" y="988"/>
                  </a:lnTo>
                  <a:lnTo>
                    <a:pt x="325" y="993"/>
                  </a:lnTo>
                  <a:lnTo>
                    <a:pt x="308" y="999"/>
                  </a:lnTo>
                  <a:lnTo>
                    <a:pt x="289" y="1002"/>
                  </a:lnTo>
                  <a:lnTo>
                    <a:pt x="270" y="1005"/>
                  </a:lnTo>
                  <a:lnTo>
                    <a:pt x="248" y="1007"/>
                  </a:lnTo>
                  <a:lnTo>
                    <a:pt x="226" y="1008"/>
                  </a:lnTo>
                  <a:lnTo>
                    <a:pt x="202" y="1008"/>
                  </a:lnTo>
                  <a:lnTo>
                    <a:pt x="178" y="1008"/>
                  </a:lnTo>
                  <a:lnTo>
                    <a:pt x="155" y="1006"/>
                  </a:lnTo>
                  <a:lnTo>
                    <a:pt x="131" y="1002"/>
                  </a:lnTo>
                  <a:lnTo>
                    <a:pt x="109" y="996"/>
                  </a:lnTo>
                  <a:lnTo>
                    <a:pt x="88" y="991"/>
                  </a:lnTo>
                  <a:lnTo>
                    <a:pt x="66" y="984"/>
                  </a:lnTo>
                  <a:lnTo>
                    <a:pt x="45" y="976"/>
                  </a:lnTo>
                  <a:lnTo>
                    <a:pt x="24" y="967"/>
                  </a:lnTo>
                  <a:lnTo>
                    <a:pt x="0" y="1081"/>
                  </a:lnTo>
                  <a:lnTo>
                    <a:pt x="27" y="1084"/>
                  </a:lnTo>
                  <a:lnTo>
                    <a:pt x="53" y="1088"/>
                  </a:lnTo>
                  <a:lnTo>
                    <a:pt x="78" y="1092"/>
                  </a:lnTo>
                  <a:lnTo>
                    <a:pt x="103" y="1096"/>
                  </a:lnTo>
                  <a:lnTo>
                    <a:pt x="128" y="1099"/>
                  </a:lnTo>
                  <a:lnTo>
                    <a:pt x="154" y="1102"/>
                  </a:lnTo>
                  <a:lnTo>
                    <a:pt x="178" y="1104"/>
                  </a:lnTo>
                  <a:lnTo>
                    <a:pt x="202" y="1105"/>
                  </a:lnTo>
                  <a:lnTo>
                    <a:pt x="223" y="1105"/>
                  </a:lnTo>
                  <a:lnTo>
                    <a:pt x="244" y="1104"/>
                  </a:lnTo>
                  <a:lnTo>
                    <a:pt x="264" y="1103"/>
                  </a:lnTo>
                  <a:lnTo>
                    <a:pt x="284" y="1101"/>
                  </a:lnTo>
                  <a:lnTo>
                    <a:pt x="303" y="1098"/>
                  </a:lnTo>
                  <a:lnTo>
                    <a:pt x="321" y="1095"/>
                  </a:lnTo>
                  <a:lnTo>
                    <a:pt x="339" y="1092"/>
                  </a:lnTo>
                  <a:lnTo>
                    <a:pt x="356" y="1088"/>
                  </a:lnTo>
                  <a:lnTo>
                    <a:pt x="372" y="1083"/>
                  </a:lnTo>
                  <a:lnTo>
                    <a:pt x="388" y="1078"/>
                  </a:lnTo>
                  <a:lnTo>
                    <a:pt x="404" y="1072"/>
                  </a:lnTo>
                  <a:lnTo>
                    <a:pt x="419" y="1065"/>
                  </a:lnTo>
                  <a:lnTo>
                    <a:pt x="433" y="1058"/>
                  </a:lnTo>
                  <a:lnTo>
                    <a:pt x="447" y="1050"/>
                  </a:lnTo>
                  <a:lnTo>
                    <a:pt x="460" y="1042"/>
                  </a:lnTo>
                  <a:lnTo>
                    <a:pt x="472" y="1033"/>
                  </a:lnTo>
                  <a:lnTo>
                    <a:pt x="484" y="1023"/>
                  </a:lnTo>
                  <a:lnTo>
                    <a:pt x="495" y="1012"/>
                  </a:lnTo>
                  <a:lnTo>
                    <a:pt x="506" y="1001"/>
                  </a:lnTo>
                  <a:lnTo>
                    <a:pt x="516" y="989"/>
                  </a:lnTo>
                  <a:lnTo>
                    <a:pt x="525" y="976"/>
                  </a:lnTo>
                  <a:lnTo>
                    <a:pt x="534" y="963"/>
                  </a:lnTo>
                  <a:lnTo>
                    <a:pt x="543" y="949"/>
                  </a:lnTo>
                  <a:lnTo>
                    <a:pt x="551" y="934"/>
                  </a:lnTo>
                  <a:lnTo>
                    <a:pt x="558" y="919"/>
                  </a:lnTo>
                  <a:lnTo>
                    <a:pt x="565" y="903"/>
                  </a:lnTo>
                  <a:lnTo>
                    <a:pt x="572" y="886"/>
                  </a:lnTo>
                  <a:lnTo>
                    <a:pt x="578" y="869"/>
                  </a:lnTo>
                  <a:lnTo>
                    <a:pt x="583" y="850"/>
                  </a:lnTo>
                  <a:lnTo>
                    <a:pt x="588" y="831"/>
                  </a:lnTo>
                  <a:lnTo>
                    <a:pt x="593" y="811"/>
                  </a:lnTo>
                  <a:lnTo>
                    <a:pt x="597" y="790"/>
                  </a:lnTo>
                  <a:lnTo>
                    <a:pt x="750" y="1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  <a:cs typeface="+mn-cs"/>
              </a:endParaRPr>
            </a:p>
          </p:txBody>
        </p:sp>
        <p:sp>
          <p:nvSpPr>
            <p:cNvPr id="21" name="Freeform 17"/>
            <p:cNvSpPr>
              <a:spLocks/>
            </p:cNvSpPr>
            <p:nvPr/>
          </p:nvSpPr>
          <p:spPr bwMode="gray">
            <a:xfrm>
              <a:off x="923925" y="3679825"/>
              <a:ext cx="142875" cy="241300"/>
            </a:xfrm>
            <a:custGeom>
              <a:avLst/>
              <a:gdLst/>
              <a:ahLst/>
              <a:cxnLst>
                <a:cxn ang="0">
                  <a:pos x="549" y="1121"/>
                </a:cxn>
                <a:cxn ang="0">
                  <a:pos x="525" y="661"/>
                </a:cxn>
                <a:cxn ang="0">
                  <a:pos x="536" y="594"/>
                </a:cxn>
                <a:cxn ang="0">
                  <a:pos x="539" y="563"/>
                </a:cxn>
                <a:cxn ang="0">
                  <a:pos x="541" y="533"/>
                </a:cxn>
                <a:cxn ang="0">
                  <a:pos x="539" y="513"/>
                </a:cxn>
                <a:cxn ang="0">
                  <a:pos x="535" y="494"/>
                </a:cxn>
                <a:cxn ang="0">
                  <a:pos x="528" y="477"/>
                </a:cxn>
                <a:cxn ang="0">
                  <a:pos x="518" y="462"/>
                </a:cxn>
                <a:cxn ang="0">
                  <a:pos x="505" y="451"/>
                </a:cxn>
                <a:cxn ang="0">
                  <a:pos x="489" y="442"/>
                </a:cxn>
                <a:cxn ang="0">
                  <a:pos x="471" y="437"/>
                </a:cxn>
                <a:cxn ang="0">
                  <a:pos x="451" y="435"/>
                </a:cxn>
                <a:cxn ang="0">
                  <a:pos x="419" y="439"/>
                </a:cxn>
                <a:cxn ang="0">
                  <a:pos x="389" y="448"/>
                </a:cxn>
                <a:cxn ang="0">
                  <a:pos x="361" y="463"/>
                </a:cxn>
                <a:cxn ang="0">
                  <a:pos x="335" y="483"/>
                </a:cxn>
                <a:cxn ang="0">
                  <a:pos x="311" y="507"/>
                </a:cxn>
                <a:cxn ang="0">
                  <a:pos x="288" y="535"/>
                </a:cxn>
                <a:cxn ang="0">
                  <a:pos x="268" y="565"/>
                </a:cxn>
                <a:cxn ang="0">
                  <a:pos x="249" y="597"/>
                </a:cxn>
                <a:cxn ang="0">
                  <a:pos x="218" y="666"/>
                </a:cxn>
                <a:cxn ang="0">
                  <a:pos x="192" y="735"/>
                </a:cxn>
                <a:cxn ang="0">
                  <a:pos x="173" y="800"/>
                </a:cxn>
                <a:cxn ang="0">
                  <a:pos x="161" y="855"/>
                </a:cxn>
                <a:cxn ang="0">
                  <a:pos x="0" y="1121"/>
                </a:cxn>
                <a:cxn ang="0">
                  <a:pos x="331" y="0"/>
                </a:cxn>
                <a:cxn ang="0">
                  <a:pos x="234" y="509"/>
                </a:cxn>
                <a:cxn ang="0">
                  <a:pos x="261" y="470"/>
                </a:cxn>
                <a:cxn ang="0">
                  <a:pos x="288" y="436"/>
                </a:cxn>
                <a:cxn ang="0">
                  <a:pos x="317" y="406"/>
                </a:cxn>
                <a:cxn ang="0">
                  <a:pos x="347" y="380"/>
                </a:cxn>
                <a:cxn ang="0">
                  <a:pos x="380" y="359"/>
                </a:cxn>
                <a:cxn ang="0">
                  <a:pos x="417" y="344"/>
                </a:cxn>
                <a:cxn ang="0">
                  <a:pos x="460" y="334"/>
                </a:cxn>
                <a:cxn ang="0">
                  <a:pos x="509" y="331"/>
                </a:cxn>
                <a:cxn ang="0">
                  <a:pos x="543" y="334"/>
                </a:cxn>
                <a:cxn ang="0">
                  <a:pos x="573" y="345"/>
                </a:cxn>
                <a:cxn ang="0">
                  <a:pos x="599" y="361"/>
                </a:cxn>
                <a:cxn ang="0">
                  <a:pos x="621" y="382"/>
                </a:cxn>
                <a:cxn ang="0">
                  <a:pos x="638" y="407"/>
                </a:cxn>
                <a:cxn ang="0">
                  <a:pos x="651" y="436"/>
                </a:cxn>
                <a:cxn ang="0">
                  <a:pos x="659" y="467"/>
                </a:cxn>
                <a:cxn ang="0">
                  <a:pos x="661" y="501"/>
                </a:cxn>
                <a:cxn ang="0">
                  <a:pos x="660" y="531"/>
                </a:cxn>
                <a:cxn ang="0">
                  <a:pos x="656" y="561"/>
                </a:cxn>
                <a:cxn ang="0">
                  <a:pos x="645" y="621"/>
                </a:cxn>
              </a:cxnLst>
              <a:rect l="0" t="0" r="r" b="b"/>
              <a:pathLst>
                <a:path w="661" h="1121">
                  <a:moveTo>
                    <a:pt x="645" y="621"/>
                  </a:moveTo>
                  <a:lnTo>
                    <a:pt x="549" y="1121"/>
                  </a:lnTo>
                  <a:lnTo>
                    <a:pt x="435" y="1121"/>
                  </a:lnTo>
                  <a:lnTo>
                    <a:pt x="525" y="661"/>
                  </a:lnTo>
                  <a:lnTo>
                    <a:pt x="531" y="627"/>
                  </a:lnTo>
                  <a:lnTo>
                    <a:pt x="536" y="594"/>
                  </a:lnTo>
                  <a:lnTo>
                    <a:pt x="538" y="578"/>
                  </a:lnTo>
                  <a:lnTo>
                    <a:pt x="539" y="563"/>
                  </a:lnTo>
                  <a:lnTo>
                    <a:pt x="540" y="548"/>
                  </a:lnTo>
                  <a:lnTo>
                    <a:pt x="541" y="533"/>
                  </a:lnTo>
                  <a:lnTo>
                    <a:pt x="540" y="522"/>
                  </a:lnTo>
                  <a:lnTo>
                    <a:pt x="539" y="513"/>
                  </a:lnTo>
                  <a:lnTo>
                    <a:pt x="537" y="503"/>
                  </a:lnTo>
                  <a:lnTo>
                    <a:pt x="535" y="494"/>
                  </a:lnTo>
                  <a:lnTo>
                    <a:pt x="532" y="485"/>
                  </a:lnTo>
                  <a:lnTo>
                    <a:pt x="528" y="477"/>
                  </a:lnTo>
                  <a:lnTo>
                    <a:pt x="523" y="469"/>
                  </a:lnTo>
                  <a:lnTo>
                    <a:pt x="518" y="462"/>
                  </a:lnTo>
                  <a:lnTo>
                    <a:pt x="512" y="456"/>
                  </a:lnTo>
                  <a:lnTo>
                    <a:pt x="505" y="451"/>
                  </a:lnTo>
                  <a:lnTo>
                    <a:pt x="498" y="446"/>
                  </a:lnTo>
                  <a:lnTo>
                    <a:pt x="489" y="442"/>
                  </a:lnTo>
                  <a:lnTo>
                    <a:pt x="480" y="439"/>
                  </a:lnTo>
                  <a:lnTo>
                    <a:pt x="471" y="437"/>
                  </a:lnTo>
                  <a:lnTo>
                    <a:pt x="462" y="436"/>
                  </a:lnTo>
                  <a:lnTo>
                    <a:pt x="451" y="435"/>
                  </a:lnTo>
                  <a:lnTo>
                    <a:pt x="435" y="436"/>
                  </a:lnTo>
                  <a:lnTo>
                    <a:pt x="419" y="439"/>
                  </a:lnTo>
                  <a:lnTo>
                    <a:pt x="404" y="443"/>
                  </a:lnTo>
                  <a:lnTo>
                    <a:pt x="389" y="448"/>
                  </a:lnTo>
                  <a:lnTo>
                    <a:pt x="375" y="455"/>
                  </a:lnTo>
                  <a:lnTo>
                    <a:pt x="361" y="463"/>
                  </a:lnTo>
                  <a:lnTo>
                    <a:pt x="348" y="472"/>
                  </a:lnTo>
                  <a:lnTo>
                    <a:pt x="335" y="483"/>
                  </a:lnTo>
                  <a:lnTo>
                    <a:pt x="323" y="495"/>
                  </a:lnTo>
                  <a:lnTo>
                    <a:pt x="311" y="507"/>
                  </a:lnTo>
                  <a:lnTo>
                    <a:pt x="299" y="521"/>
                  </a:lnTo>
                  <a:lnTo>
                    <a:pt x="288" y="535"/>
                  </a:lnTo>
                  <a:lnTo>
                    <a:pt x="278" y="549"/>
                  </a:lnTo>
                  <a:lnTo>
                    <a:pt x="268" y="565"/>
                  </a:lnTo>
                  <a:lnTo>
                    <a:pt x="259" y="581"/>
                  </a:lnTo>
                  <a:lnTo>
                    <a:pt x="249" y="597"/>
                  </a:lnTo>
                  <a:lnTo>
                    <a:pt x="233" y="631"/>
                  </a:lnTo>
                  <a:lnTo>
                    <a:pt x="218" y="666"/>
                  </a:lnTo>
                  <a:lnTo>
                    <a:pt x="203" y="700"/>
                  </a:lnTo>
                  <a:lnTo>
                    <a:pt x="192" y="735"/>
                  </a:lnTo>
                  <a:lnTo>
                    <a:pt x="182" y="768"/>
                  </a:lnTo>
                  <a:lnTo>
                    <a:pt x="173" y="800"/>
                  </a:lnTo>
                  <a:lnTo>
                    <a:pt x="166" y="829"/>
                  </a:lnTo>
                  <a:lnTo>
                    <a:pt x="161" y="855"/>
                  </a:lnTo>
                  <a:lnTo>
                    <a:pt x="113" y="1121"/>
                  </a:lnTo>
                  <a:lnTo>
                    <a:pt x="0" y="1121"/>
                  </a:lnTo>
                  <a:lnTo>
                    <a:pt x="218" y="0"/>
                  </a:lnTo>
                  <a:lnTo>
                    <a:pt x="331" y="0"/>
                  </a:lnTo>
                  <a:lnTo>
                    <a:pt x="234" y="501"/>
                  </a:lnTo>
                  <a:lnTo>
                    <a:pt x="234" y="509"/>
                  </a:lnTo>
                  <a:lnTo>
                    <a:pt x="248" y="488"/>
                  </a:lnTo>
                  <a:lnTo>
                    <a:pt x="261" y="470"/>
                  </a:lnTo>
                  <a:lnTo>
                    <a:pt x="275" y="453"/>
                  </a:lnTo>
                  <a:lnTo>
                    <a:pt x="288" y="436"/>
                  </a:lnTo>
                  <a:lnTo>
                    <a:pt x="302" y="420"/>
                  </a:lnTo>
                  <a:lnTo>
                    <a:pt x="317" y="406"/>
                  </a:lnTo>
                  <a:lnTo>
                    <a:pt x="331" y="392"/>
                  </a:lnTo>
                  <a:lnTo>
                    <a:pt x="347" y="380"/>
                  </a:lnTo>
                  <a:lnTo>
                    <a:pt x="363" y="369"/>
                  </a:lnTo>
                  <a:lnTo>
                    <a:pt x="380" y="359"/>
                  </a:lnTo>
                  <a:lnTo>
                    <a:pt x="398" y="351"/>
                  </a:lnTo>
                  <a:lnTo>
                    <a:pt x="417" y="344"/>
                  </a:lnTo>
                  <a:lnTo>
                    <a:pt x="438" y="338"/>
                  </a:lnTo>
                  <a:lnTo>
                    <a:pt x="460" y="334"/>
                  </a:lnTo>
                  <a:lnTo>
                    <a:pt x="483" y="332"/>
                  </a:lnTo>
                  <a:lnTo>
                    <a:pt x="509" y="331"/>
                  </a:lnTo>
                  <a:lnTo>
                    <a:pt x="526" y="332"/>
                  </a:lnTo>
                  <a:lnTo>
                    <a:pt x="543" y="334"/>
                  </a:lnTo>
                  <a:lnTo>
                    <a:pt x="558" y="339"/>
                  </a:lnTo>
                  <a:lnTo>
                    <a:pt x="573" y="345"/>
                  </a:lnTo>
                  <a:lnTo>
                    <a:pt x="587" y="352"/>
                  </a:lnTo>
                  <a:lnTo>
                    <a:pt x="599" y="361"/>
                  </a:lnTo>
                  <a:lnTo>
                    <a:pt x="611" y="371"/>
                  </a:lnTo>
                  <a:lnTo>
                    <a:pt x="621" y="382"/>
                  </a:lnTo>
                  <a:lnTo>
                    <a:pt x="630" y="394"/>
                  </a:lnTo>
                  <a:lnTo>
                    <a:pt x="638" y="407"/>
                  </a:lnTo>
                  <a:lnTo>
                    <a:pt x="645" y="421"/>
                  </a:lnTo>
                  <a:lnTo>
                    <a:pt x="651" y="436"/>
                  </a:lnTo>
                  <a:lnTo>
                    <a:pt x="655" y="451"/>
                  </a:lnTo>
                  <a:lnTo>
                    <a:pt x="659" y="467"/>
                  </a:lnTo>
                  <a:lnTo>
                    <a:pt x="661" y="483"/>
                  </a:lnTo>
                  <a:lnTo>
                    <a:pt x="661" y="501"/>
                  </a:lnTo>
                  <a:lnTo>
                    <a:pt x="661" y="516"/>
                  </a:lnTo>
                  <a:lnTo>
                    <a:pt x="660" y="531"/>
                  </a:lnTo>
                  <a:lnTo>
                    <a:pt x="658" y="546"/>
                  </a:lnTo>
                  <a:lnTo>
                    <a:pt x="656" y="561"/>
                  </a:lnTo>
                  <a:lnTo>
                    <a:pt x="651" y="591"/>
                  </a:lnTo>
                  <a:lnTo>
                    <a:pt x="645" y="62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  <a:cs typeface="+mn-cs"/>
              </a:endParaRPr>
            </a:p>
          </p:txBody>
        </p:sp>
        <p:sp>
          <p:nvSpPr>
            <p:cNvPr id="22" name="Freeform 18"/>
            <p:cNvSpPr>
              <a:spLocks noEditPoints="1"/>
            </p:cNvSpPr>
            <p:nvPr/>
          </p:nvSpPr>
          <p:spPr bwMode="gray">
            <a:xfrm>
              <a:off x="1116013" y="3751263"/>
              <a:ext cx="158750" cy="246062"/>
            </a:xfrm>
            <a:custGeom>
              <a:avLst/>
              <a:gdLst/>
              <a:ahLst/>
              <a:cxnLst>
                <a:cxn ang="0">
                  <a:pos x="602" y="337"/>
                </a:cxn>
                <a:cxn ang="0">
                  <a:pos x="587" y="438"/>
                </a:cxn>
                <a:cxn ang="0">
                  <a:pos x="557" y="544"/>
                </a:cxn>
                <a:cxn ang="0">
                  <a:pos x="535" y="593"/>
                </a:cxn>
                <a:cxn ang="0">
                  <a:pos x="510" y="636"/>
                </a:cxn>
                <a:cxn ang="0">
                  <a:pos x="479" y="671"/>
                </a:cxn>
                <a:cxn ang="0">
                  <a:pos x="443" y="696"/>
                </a:cxn>
                <a:cxn ang="0">
                  <a:pos x="402" y="708"/>
                </a:cxn>
                <a:cxn ang="0">
                  <a:pos x="368" y="708"/>
                </a:cxn>
                <a:cxn ang="0">
                  <a:pos x="343" y="701"/>
                </a:cxn>
                <a:cxn ang="0">
                  <a:pos x="322" y="690"/>
                </a:cxn>
                <a:cxn ang="0">
                  <a:pos x="303" y="675"/>
                </a:cxn>
                <a:cxn ang="0">
                  <a:pos x="280" y="642"/>
                </a:cxn>
                <a:cxn ang="0">
                  <a:pos x="261" y="594"/>
                </a:cxn>
                <a:cxn ang="0">
                  <a:pos x="252" y="542"/>
                </a:cxn>
                <a:cxn ang="0">
                  <a:pos x="251" y="481"/>
                </a:cxn>
                <a:cxn ang="0">
                  <a:pos x="263" y="384"/>
                </a:cxn>
                <a:cxn ang="0">
                  <a:pos x="285" y="298"/>
                </a:cxn>
                <a:cxn ang="0">
                  <a:pos x="304" y="247"/>
                </a:cxn>
                <a:cxn ang="0">
                  <a:pos x="327" y="200"/>
                </a:cxn>
                <a:cxn ang="0">
                  <a:pos x="355" y="158"/>
                </a:cxn>
                <a:cxn ang="0">
                  <a:pos x="387" y="124"/>
                </a:cxn>
                <a:cxn ang="0">
                  <a:pos x="425" y="101"/>
                </a:cxn>
                <a:cxn ang="0">
                  <a:pos x="469" y="89"/>
                </a:cxn>
                <a:cxn ang="0">
                  <a:pos x="504" y="90"/>
                </a:cxn>
                <a:cxn ang="0">
                  <a:pos x="530" y="96"/>
                </a:cxn>
                <a:cxn ang="0">
                  <a:pos x="551" y="107"/>
                </a:cxn>
                <a:cxn ang="0">
                  <a:pos x="567" y="122"/>
                </a:cxn>
                <a:cxn ang="0">
                  <a:pos x="587" y="155"/>
                </a:cxn>
                <a:cxn ang="0">
                  <a:pos x="600" y="202"/>
                </a:cxn>
                <a:cxn ang="0">
                  <a:pos x="605" y="282"/>
                </a:cxn>
                <a:cxn ang="0">
                  <a:pos x="732" y="215"/>
                </a:cxn>
                <a:cxn ang="0">
                  <a:pos x="718" y="143"/>
                </a:cxn>
                <a:cxn ang="0">
                  <a:pos x="701" y="100"/>
                </a:cxn>
                <a:cxn ang="0">
                  <a:pos x="683" y="72"/>
                </a:cxn>
                <a:cxn ang="0">
                  <a:pos x="661" y="48"/>
                </a:cxn>
                <a:cxn ang="0">
                  <a:pos x="635" y="28"/>
                </a:cxn>
                <a:cxn ang="0">
                  <a:pos x="604" y="13"/>
                </a:cxn>
                <a:cxn ang="0">
                  <a:pos x="567" y="3"/>
                </a:cxn>
                <a:cxn ang="0">
                  <a:pos x="525" y="0"/>
                </a:cxn>
                <a:cxn ang="0">
                  <a:pos x="471" y="6"/>
                </a:cxn>
                <a:cxn ang="0">
                  <a:pos x="424" y="22"/>
                </a:cxn>
                <a:cxn ang="0">
                  <a:pos x="386" y="49"/>
                </a:cxn>
                <a:cxn ang="0">
                  <a:pos x="353" y="85"/>
                </a:cxn>
                <a:cxn ang="0">
                  <a:pos x="324" y="128"/>
                </a:cxn>
                <a:cxn ang="0">
                  <a:pos x="331" y="16"/>
                </a:cxn>
                <a:cxn ang="0">
                  <a:pos x="113" y="1137"/>
                </a:cxn>
                <a:cxn ang="0">
                  <a:pos x="215" y="684"/>
                </a:cxn>
                <a:cxn ang="0">
                  <a:pos x="237" y="725"/>
                </a:cxn>
                <a:cxn ang="0">
                  <a:pos x="267" y="759"/>
                </a:cxn>
                <a:cxn ang="0">
                  <a:pos x="304" y="785"/>
                </a:cxn>
                <a:cxn ang="0">
                  <a:pos x="347" y="801"/>
                </a:cxn>
                <a:cxn ang="0">
                  <a:pos x="395" y="806"/>
                </a:cxn>
                <a:cxn ang="0">
                  <a:pos x="462" y="798"/>
                </a:cxn>
                <a:cxn ang="0">
                  <a:pos x="520" y="773"/>
                </a:cxn>
                <a:cxn ang="0">
                  <a:pos x="570" y="736"/>
                </a:cxn>
                <a:cxn ang="0">
                  <a:pos x="612" y="686"/>
                </a:cxn>
                <a:cxn ang="0">
                  <a:pos x="648" y="629"/>
                </a:cxn>
                <a:cxn ang="0">
                  <a:pos x="677" y="566"/>
                </a:cxn>
                <a:cxn ang="0">
                  <a:pos x="699" y="500"/>
                </a:cxn>
                <a:cxn ang="0">
                  <a:pos x="717" y="432"/>
                </a:cxn>
                <a:cxn ang="0">
                  <a:pos x="728" y="366"/>
                </a:cxn>
                <a:cxn ang="0">
                  <a:pos x="735" y="266"/>
                </a:cxn>
              </a:cxnLst>
              <a:rect l="0" t="0" r="r" b="b"/>
              <a:pathLst>
                <a:path w="735" h="1137">
                  <a:moveTo>
                    <a:pt x="605" y="282"/>
                  </a:moveTo>
                  <a:lnTo>
                    <a:pt x="604" y="308"/>
                  </a:lnTo>
                  <a:lnTo>
                    <a:pt x="602" y="337"/>
                  </a:lnTo>
                  <a:lnTo>
                    <a:pt x="599" y="369"/>
                  </a:lnTo>
                  <a:lnTo>
                    <a:pt x="594" y="403"/>
                  </a:lnTo>
                  <a:lnTo>
                    <a:pt x="587" y="438"/>
                  </a:lnTo>
                  <a:lnTo>
                    <a:pt x="579" y="474"/>
                  </a:lnTo>
                  <a:lnTo>
                    <a:pt x="569" y="510"/>
                  </a:lnTo>
                  <a:lnTo>
                    <a:pt x="557" y="544"/>
                  </a:lnTo>
                  <a:lnTo>
                    <a:pt x="550" y="561"/>
                  </a:lnTo>
                  <a:lnTo>
                    <a:pt x="543" y="577"/>
                  </a:lnTo>
                  <a:lnTo>
                    <a:pt x="535" y="593"/>
                  </a:lnTo>
                  <a:lnTo>
                    <a:pt x="527" y="608"/>
                  </a:lnTo>
                  <a:lnTo>
                    <a:pt x="519" y="623"/>
                  </a:lnTo>
                  <a:lnTo>
                    <a:pt x="510" y="636"/>
                  </a:lnTo>
                  <a:lnTo>
                    <a:pt x="500" y="649"/>
                  </a:lnTo>
                  <a:lnTo>
                    <a:pt x="490" y="661"/>
                  </a:lnTo>
                  <a:lnTo>
                    <a:pt x="479" y="671"/>
                  </a:lnTo>
                  <a:lnTo>
                    <a:pt x="468" y="681"/>
                  </a:lnTo>
                  <a:lnTo>
                    <a:pt x="456" y="689"/>
                  </a:lnTo>
                  <a:lnTo>
                    <a:pt x="443" y="696"/>
                  </a:lnTo>
                  <a:lnTo>
                    <a:pt x="429" y="702"/>
                  </a:lnTo>
                  <a:lnTo>
                    <a:pt x="416" y="706"/>
                  </a:lnTo>
                  <a:lnTo>
                    <a:pt x="402" y="708"/>
                  </a:lnTo>
                  <a:lnTo>
                    <a:pt x="387" y="709"/>
                  </a:lnTo>
                  <a:lnTo>
                    <a:pt x="377" y="709"/>
                  </a:lnTo>
                  <a:lnTo>
                    <a:pt x="368" y="708"/>
                  </a:lnTo>
                  <a:lnTo>
                    <a:pt x="360" y="706"/>
                  </a:lnTo>
                  <a:lnTo>
                    <a:pt x="351" y="704"/>
                  </a:lnTo>
                  <a:lnTo>
                    <a:pt x="343" y="701"/>
                  </a:lnTo>
                  <a:lnTo>
                    <a:pt x="336" y="698"/>
                  </a:lnTo>
                  <a:lnTo>
                    <a:pt x="328" y="694"/>
                  </a:lnTo>
                  <a:lnTo>
                    <a:pt x="322" y="690"/>
                  </a:lnTo>
                  <a:lnTo>
                    <a:pt x="315" y="685"/>
                  </a:lnTo>
                  <a:lnTo>
                    <a:pt x="309" y="680"/>
                  </a:lnTo>
                  <a:lnTo>
                    <a:pt x="303" y="675"/>
                  </a:lnTo>
                  <a:lnTo>
                    <a:pt x="298" y="669"/>
                  </a:lnTo>
                  <a:lnTo>
                    <a:pt x="288" y="656"/>
                  </a:lnTo>
                  <a:lnTo>
                    <a:pt x="280" y="642"/>
                  </a:lnTo>
                  <a:lnTo>
                    <a:pt x="272" y="627"/>
                  </a:lnTo>
                  <a:lnTo>
                    <a:pt x="266" y="611"/>
                  </a:lnTo>
                  <a:lnTo>
                    <a:pt x="261" y="594"/>
                  </a:lnTo>
                  <a:lnTo>
                    <a:pt x="257" y="577"/>
                  </a:lnTo>
                  <a:lnTo>
                    <a:pt x="254" y="560"/>
                  </a:lnTo>
                  <a:lnTo>
                    <a:pt x="252" y="542"/>
                  </a:lnTo>
                  <a:lnTo>
                    <a:pt x="251" y="525"/>
                  </a:lnTo>
                  <a:lnTo>
                    <a:pt x="250" y="508"/>
                  </a:lnTo>
                  <a:lnTo>
                    <a:pt x="251" y="481"/>
                  </a:lnTo>
                  <a:lnTo>
                    <a:pt x="254" y="451"/>
                  </a:lnTo>
                  <a:lnTo>
                    <a:pt x="257" y="418"/>
                  </a:lnTo>
                  <a:lnTo>
                    <a:pt x="263" y="384"/>
                  </a:lnTo>
                  <a:lnTo>
                    <a:pt x="270" y="350"/>
                  </a:lnTo>
                  <a:lnTo>
                    <a:pt x="280" y="315"/>
                  </a:lnTo>
                  <a:lnTo>
                    <a:pt x="285" y="298"/>
                  </a:lnTo>
                  <a:lnTo>
                    <a:pt x="291" y="280"/>
                  </a:lnTo>
                  <a:lnTo>
                    <a:pt x="297" y="264"/>
                  </a:lnTo>
                  <a:lnTo>
                    <a:pt x="304" y="247"/>
                  </a:lnTo>
                  <a:lnTo>
                    <a:pt x="311" y="231"/>
                  </a:lnTo>
                  <a:lnTo>
                    <a:pt x="319" y="215"/>
                  </a:lnTo>
                  <a:lnTo>
                    <a:pt x="327" y="200"/>
                  </a:lnTo>
                  <a:lnTo>
                    <a:pt x="336" y="185"/>
                  </a:lnTo>
                  <a:lnTo>
                    <a:pt x="345" y="172"/>
                  </a:lnTo>
                  <a:lnTo>
                    <a:pt x="355" y="158"/>
                  </a:lnTo>
                  <a:lnTo>
                    <a:pt x="365" y="146"/>
                  </a:lnTo>
                  <a:lnTo>
                    <a:pt x="376" y="134"/>
                  </a:lnTo>
                  <a:lnTo>
                    <a:pt x="387" y="124"/>
                  </a:lnTo>
                  <a:lnTo>
                    <a:pt x="399" y="115"/>
                  </a:lnTo>
                  <a:lnTo>
                    <a:pt x="412" y="107"/>
                  </a:lnTo>
                  <a:lnTo>
                    <a:pt x="425" y="101"/>
                  </a:lnTo>
                  <a:lnTo>
                    <a:pt x="440" y="95"/>
                  </a:lnTo>
                  <a:lnTo>
                    <a:pt x="454" y="91"/>
                  </a:lnTo>
                  <a:lnTo>
                    <a:pt x="469" y="89"/>
                  </a:lnTo>
                  <a:lnTo>
                    <a:pt x="485" y="88"/>
                  </a:lnTo>
                  <a:lnTo>
                    <a:pt x="495" y="89"/>
                  </a:lnTo>
                  <a:lnTo>
                    <a:pt x="504" y="90"/>
                  </a:lnTo>
                  <a:lnTo>
                    <a:pt x="513" y="91"/>
                  </a:lnTo>
                  <a:lnTo>
                    <a:pt x="522" y="93"/>
                  </a:lnTo>
                  <a:lnTo>
                    <a:pt x="530" y="96"/>
                  </a:lnTo>
                  <a:lnTo>
                    <a:pt x="537" y="99"/>
                  </a:lnTo>
                  <a:lnTo>
                    <a:pt x="544" y="103"/>
                  </a:lnTo>
                  <a:lnTo>
                    <a:pt x="551" y="107"/>
                  </a:lnTo>
                  <a:lnTo>
                    <a:pt x="557" y="112"/>
                  </a:lnTo>
                  <a:lnTo>
                    <a:pt x="562" y="117"/>
                  </a:lnTo>
                  <a:lnTo>
                    <a:pt x="567" y="122"/>
                  </a:lnTo>
                  <a:lnTo>
                    <a:pt x="572" y="128"/>
                  </a:lnTo>
                  <a:lnTo>
                    <a:pt x="580" y="141"/>
                  </a:lnTo>
                  <a:lnTo>
                    <a:pt x="587" y="155"/>
                  </a:lnTo>
                  <a:lnTo>
                    <a:pt x="592" y="170"/>
                  </a:lnTo>
                  <a:lnTo>
                    <a:pt x="597" y="186"/>
                  </a:lnTo>
                  <a:lnTo>
                    <a:pt x="600" y="202"/>
                  </a:lnTo>
                  <a:lnTo>
                    <a:pt x="602" y="218"/>
                  </a:lnTo>
                  <a:lnTo>
                    <a:pt x="604" y="251"/>
                  </a:lnTo>
                  <a:lnTo>
                    <a:pt x="605" y="282"/>
                  </a:lnTo>
                  <a:close/>
                  <a:moveTo>
                    <a:pt x="735" y="266"/>
                  </a:moveTo>
                  <a:lnTo>
                    <a:pt x="734" y="241"/>
                  </a:lnTo>
                  <a:lnTo>
                    <a:pt x="732" y="215"/>
                  </a:lnTo>
                  <a:lnTo>
                    <a:pt x="729" y="191"/>
                  </a:lnTo>
                  <a:lnTo>
                    <a:pt x="725" y="167"/>
                  </a:lnTo>
                  <a:lnTo>
                    <a:pt x="718" y="143"/>
                  </a:lnTo>
                  <a:lnTo>
                    <a:pt x="710" y="121"/>
                  </a:lnTo>
                  <a:lnTo>
                    <a:pt x="705" y="111"/>
                  </a:lnTo>
                  <a:lnTo>
                    <a:pt x="701" y="100"/>
                  </a:lnTo>
                  <a:lnTo>
                    <a:pt x="695" y="91"/>
                  </a:lnTo>
                  <a:lnTo>
                    <a:pt x="689" y="81"/>
                  </a:lnTo>
                  <a:lnTo>
                    <a:pt x="683" y="72"/>
                  </a:lnTo>
                  <a:lnTo>
                    <a:pt x="676" y="64"/>
                  </a:lnTo>
                  <a:lnTo>
                    <a:pt x="669" y="55"/>
                  </a:lnTo>
                  <a:lnTo>
                    <a:pt x="661" y="48"/>
                  </a:lnTo>
                  <a:lnTo>
                    <a:pt x="653" y="41"/>
                  </a:lnTo>
                  <a:lnTo>
                    <a:pt x="644" y="34"/>
                  </a:lnTo>
                  <a:lnTo>
                    <a:pt x="635" y="28"/>
                  </a:lnTo>
                  <a:lnTo>
                    <a:pt x="625" y="22"/>
                  </a:lnTo>
                  <a:lnTo>
                    <a:pt x="615" y="17"/>
                  </a:lnTo>
                  <a:lnTo>
                    <a:pt x="604" y="13"/>
                  </a:lnTo>
                  <a:lnTo>
                    <a:pt x="592" y="9"/>
                  </a:lnTo>
                  <a:lnTo>
                    <a:pt x="580" y="6"/>
                  </a:lnTo>
                  <a:lnTo>
                    <a:pt x="567" y="3"/>
                  </a:lnTo>
                  <a:lnTo>
                    <a:pt x="553" y="1"/>
                  </a:lnTo>
                  <a:lnTo>
                    <a:pt x="539" y="0"/>
                  </a:lnTo>
                  <a:lnTo>
                    <a:pt x="525" y="0"/>
                  </a:lnTo>
                  <a:lnTo>
                    <a:pt x="506" y="1"/>
                  </a:lnTo>
                  <a:lnTo>
                    <a:pt x="488" y="2"/>
                  </a:lnTo>
                  <a:lnTo>
                    <a:pt x="471" y="6"/>
                  </a:lnTo>
                  <a:lnTo>
                    <a:pt x="455" y="10"/>
                  </a:lnTo>
                  <a:lnTo>
                    <a:pt x="440" y="16"/>
                  </a:lnTo>
                  <a:lnTo>
                    <a:pt x="424" y="22"/>
                  </a:lnTo>
                  <a:lnTo>
                    <a:pt x="411" y="30"/>
                  </a:lnTo>
                  <a:lnTo>
                    <a:pt x="398" y="39"/>
                  </a:lnTo>
                  <a:lnTo>
                    <a:pt x="386" y="49"/>
                  </a:lnTo>
                  <a:lnTo>
                    <a:pt x="374" y="60"/>
                  </a:lnTo>
                  <a:lnTo>
                    <a:pt x="363" y="72"/>
                  </a:lnTo>
                  <a:lnTo>
                    <a:pt x="353" y="85"/>
                  </a:lnTo>
                  <a:lnTo>
                    <a:pt x="343" y="98"/>
                  </a:lnTo>
                  <a:lnTo>
                    <a:pt x="333" y="113"/>
                  </a:lnTo>
                  <a:lnTo>
                    <a:pt x="324" y="128"/>
                  </a:lnTo>
                  <a:lnTo>
                    <a:pt x="315" y="144"/>
                  </a:lnTo>
                  <a:lnTo>
                    <a:pt x="307" y="144"/>
                  </a:lnTo>
                  <a:lnTo>
                    <a:pt x="331" y="16"/>
                  </a:lnTo>
                  <a:lnTo>
                    <a:pt x="218" y="16"/>
                  </a:lnTo>
                  <a:lnTo>
                    <a:pt x="0" y="1137"/>
                  </a:lnTo>
                  <a:lnTo>
                    <a:pt x="113" y="1137"/>
                  </a:lnTo>
                  <a:lnTo>
                    <a:pt x="202" y="669"/>
                  </a:lnTo>
                  <a:lnTo>
                    <a:pt x="210" y="669"/>
                  </a:lnTo>
                  <a:lnTo>
                    <a:pt x="215" y="684"/>
                  </a:lnTo>
                  <a:lnTo>
                    <a:pt x="221" y="698"/>
                  </a:lnTo>
                  <a:lnTo>
                    <a:pt x="229" y="711"/>
                  </a:lnTo>
                  <a:lnTo>
                    <a:pt x="237" y="725"/>
                  </a:lnTo>
                  <a:lnTo>
                    <a:pt x="246" y="737"/>
                  </a:lnTo>
                  <a:lnTo>
                    <a:pt x="256" y="748"/>
                  </a:lnTo>
                  <a:lnTo>
                    <a:pt x="267" y="759"/>
                  </a:lnTo>
                  <a:lnTo>
                    <a:pt x="279" y="768"/>
                  </a:lnTo>
                  <a:lnTo>
                    <a:pt x="291" y="777"/>
                  </a:lnTo>
                  <a:lnTo>
                    <a:pt x="304" y="785"/>
                  </a:lnTo>
                  <a:lnTo>
                    <a:pt x="318" y="791"/>
                  </a:lnTo>
                  <a:lnTo>
                    <a:pt x="332" y="796"/>
                  </a:lnTo>
                  <a:lnTo>
                    <a:pt x="347" y="801"/>
                  </a:lnTo>
                  <a:lnTo>
                    <a:pt x="363" y="804"/>
                  </a:lnTo>
                  <a:lnTo>
                    <a:pt x="379" y="806"/>
                  </a:lnTo>
                  <a:lnTo>
                    <a:pt x="395" y="806"/>
                  </a:lnTo>
                  <a:lnTo>
                    <a:pt x="418" y="806"/>
                  </a:lnTo>
                  <a:lnTo>
                    <a:pt x="441" y="803"/>
                  </a:lnTo>
                  <a:lnTo>
                    <a:pt x="462" y="798"/>
                  </a:lnTo>
                  <a:lnTo>
                    <a:pt x="482" y="791"/>
                  </a:lnTo>
                  <a:lnTo>
                    <a:pt x="501" y="783"/>
                  </a:lnTo>
                  <a:lnTo>
                    <a:pt x="520" y="773"/>
                  </a:lnTo>
                  <a:lnTo>
                    <a:pt x="537" y="762"/>
                  </a:lnTo>
                  <a:lnTo>
                    <a:pt x="554" y="750"/>
                  </a:lnTo>
                  <a:lnTo>
                    <a:pt x="570" y="736"/>
                  </a:lnTo>
                  <a:lnTo>
                    <a:pt x="585" y="721"/>
                  </a:lnTo>
                  <a:lnTo>
                    <a:pt x="599" y="703"/>
                  </a:lnTo>
                  <a:lnTo>
                    <a:pt x="612" y="686"/>
                  </a:lnTo>
                  <a:lnTo>
                    <a:pt x="625" y="668"/>
                  </a:lnTo>
                  <a:lnTo>
                    <a:pt x="637" y="649"/>
                  </a:lnTo>
                  <a:lnTo>
                    <a:pt x="648" y="629"/>
                  </a:lnTo>
                  <a:lnTo>
                    <a:pt x="658" y="609"/>
                  </a:lnTo>
                  <a:lnTo>
                    <a:pt x="668" y="588"/>
                  </a:lnTo>
                  <a:lnTo>
                    <a:pt x="677" y="566"/>
                  </a:lnTo>
                  <a:lnTo>
                    <a:pt x="685" y="544"/>
                  </a:lnTo>
                  <a:lnTo>
                    <a:pt x="692" y="522"/>
                  </a:lnTo>
                  <a:lnTo>
                    <a:pt x="699" y="500"/>
                  </a:lnTo>
                  <a:lnTo>
                    <a:pt x="705" y="477"/>
                  </a:lnTo>
                  <a:lnTo>
                    <a:pt x="712" y="455"/>
                  </a:lnTo>
                  <a:lnTo>
                    <a:pt x="717" y="432"/>
                  </a:lnTo>
                  <a:lnTo>
                    <a:pt x="721" y="409"/>
                  </a:lnTo>
                  <a:lnTo>
                    <a:pt x="725" y="387"/>
                  </a:lnTo>
                  <a:lnTo>
                    <a:pt x="728" y="366"/>
                  </a:lnTo>
                  <a:lnTo>
                    <a:pt x="730" y="345"/>
                  </a:lnTo>
                  <a:lnTo>
                    <a:pt x="734" y="304"/>
                  </a:lnTo>
                  <a:lnTo>
                    <a:pt x="735" y="26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  <a:cs typeface="+mn-cs"/>
              </a:endParaRPr>
            </a:p>
          </p:txBody>
        </p:sp>
        <p:sp>
          <p:nvSpPr>
            <p:cNvPr id="23" name="Freeform 19"/>
            <p:cNvSpPr>
              <a:spLocks noEditPoints="1"/>
            </p:cNvSpPr>
            <p:nvPr/>
          </p:nvSpPr>
          <p:spPr bwMode="gray">
            <a:xfrm>
              <a:off x="1287463" y="3751263"/>
              <a:ext cx="133350" cy="173037"/>
            </a:xfrm>
            <a:custGeom>
              <a:avLst/>
              <a:gdLst/>
              <a:ahLst/>
              <a:cxnLst>
                <a:cxn ang="0">
                  <a:pos x="492" y="229"/>
                </a:cxn>
                <a:cxn ang="0">
                  <a:pos x="169" y="242"/>
                </a:cxn>
                <a:cxn ang="0">
                  <a:pos x="190" y="195"/>
                </a:cxn>
                <a:cxn ang="0">
                  <a:pos x="217" y="154"/>
                </a:cxn>
                <a:cxn ang="0">
                  <a:pos x="251" y="122"/>
                </a:cxn>
                <a:cxn ang="0">
                  <a:pos x="293" y="100"/>
                </a:cxn>
                <a:cxn ang="0">
                  <a:pos x="343" y="89"/>
                </a:cxn>
                <a:cxn ang="0">
                  <a:pos x="389" y="90"/>
                </a:cxn>
                <a:cxn ang="0">
                  <a:pos x="424" y="102"/>
                </a:cxn>
                <a:cxn ang="0">
                  <a:pos x="454" y="121"/>
                </a:cxn>
                <a:cxn ang="0">
                  <a:pos x="477" y="149"/>
                </a:cxn>
                <a:cxn ang="0">
                  <a:pos x="490" y="184"/>
                </a:cxn>
                <a:cxn ang="0">
                  <a:pos x="605" y="218"/>
                </a:cxn>
                <a:cxn ang="0">
                  <a:pos x="602" y="181"/>
                </a:cxn>
                <a:cxn ang="0">
                  <a:pos x="594" y="146"/>
                </a:cxn>
                <a:cxn ang="0">
                  <a:pos x="582" y="116"/>
                </a:cxn>
                <a:cxn ang="0">
                  <a:pos x="565" y="88"/>
                </a:cxn>
                <a:cxn ang="0">
                  <a:pos x="544" y="64"/>
                </a:cxn>
                <a:cxn ang="0">
                  <a:pos x="520" y="44"/>
                </a:cxn>
                <a:cxn ang="0">
                  <a:pos x="483" y="23"/>
                </a:cxn>
                <a:cxn ang="0">
                  <a:pos x="417" y="4"/>
                </a:cxn>
                <a:cxn ang="0">
                  <a:pos x="346" y="1"/>
                </a:cxn>
                <a:cxn ang="0">
                  <a:pos x="279" y="11"/>
                </a:cxn>
                <a:cxn ang="0">
                  <a:pos x="219" y="34"/>
                </a:cxn>
                <a:cxn ang="0">
                  <a:pos x="166" y="66"/>
                </a:cxn>
                <a:cxn ang="0">
                  <a:pos x="122" y="108"/>
                </a:cxn>
                <a:cxn ang="0">
                  <a:pos x="85" y="157"/>
                </a:cxn>
                <a:cxn ang="0">
                  <a:pos x="55" y="212"/>
                </a:cxn>
                <a:cxn ang="0">
                  <a:pos x="32" y="272"/>
                </a:cxn>
                <a:cxn ang="0">
                  <a:pos x="15" y="334"/>
                </a:cxn>
                <a:cxn ang="0">
                  <a:pos x="5" y="398"/>
                </a:cxn>
                <a:cxn ang="0">
                  <a:pos x="0" y="463"/>
                </a:cxn>
                <a:cxn ang="0">
                  <a:pos x="1" y="523"/>
                </a:cxn>
                <a:cxn ang="0">
                  <a:pos x="8" y="578"/>
                </a:cxn>
                <a:cxn ang="0">
                  <a:pos x="21" y="626"/>
                </a:cxn>
                <a:cxn ang="0">
                  <a:pos x="39" y="668"/>
                </a:cxn>
                <a:cxn ang="0">
                  <a:pos x="63" y="705"/>
                </a:cxn>
                <a:cxn ang="0">
                  <a:pos x="93" y="737"/>
                </a:cxn>
                <a:cxn ang="0">
                  <a:pos x="128" y="762"/>
                </a:cxn>
                <a:cxn ang="0">
                  <a:pos x="168" y="782"/>
                </a:cxn>
                <a:cxn ang="0">
                  <a:pos x="215" y="795"/>
                </a:cxn>
                <a:cxn ang="0">
                  <a:pos x="266" y="804"/>
                </a:cxn>
                <a:cxn ang="0">
                  <a:pos x="322" y="806"/>
                </a:cxn>
                <a:cxn ang="0">
                  <a:pos x="386" y="803"/>
                </a:cxn>
                <a:cxn ang="0">
                  <a:pos x="449" y="793"/>
                </a:cxn>
                <a:cxn ang="0">
                  <a:pos x="508" y="693"/>
                </a:cxn>
                <a:cxn ang="0">
                  <a:pos x="430" y="706"/>
                </a:cxn>
                <a:cxn ang="0">
                  <a:pos x="379" y="709"/>
                </a:cxn>
                <a:cxn ang="0">
                  <a:pos x="333" y="707"/>
                </a:cxn>
                <a:cxn ang="0">
                  <a:pos x="293" y="701"/>
                </a:cxn>
                <a:cxn ang="0">
                  <a:pos x="257" y="690"/>
                </a:cxn>
                <a:cxn ang="0">
                  <a:pos x="226" y="674"/>
                </a:cxn>
                <a:cxn ang="0">
                  <a:pos x="199" y="654"/>
                </a:cxn>
                <a:cxn ang="0">
                  <a:pos x="175" y="630"/>
                </a:cxn>
                <a:cxn ang="0">
                  <a:pos x="157" y="601"/>
                </a:cxn>
                <a:cxn ang="0">
                  <a:pos x="144" y="567"/>
                </a:cxn>
                <a:cxn ang="0">
                  <a:pos x="134" y="528"/>
                </a:cxn>
                <a:cxn ang="0">
                  <a:pos x="129" y="484"/>
                </a:cxn>
                <a:cxn ang="0">
                  <a:pos x="129" y="436"/>
                </a:cxn>
                <a:cxn ang="0">
                  <a:pos x="133" y="391"/>
                </a:cxn>
                <a:cxn ang="0">
                  <a:pos x="589" y="330"/>
                </a:cxn>
                <a:cxn ang="0">
                  <a:pos x="602" y="263"/>
                </a:cxn>
                <a:cxn ang="0">
                  <a:pos x="605" y="218"/>
                </a:cxn>
              </a:cxnLst>
              <a:rect l="0" t="0" r="r" b="b"/>
              <a:pathLst>
                <a:path w="605" h="806">
                  <a:moveTo>
                    <a:pt x="492" y="210"/>
                  </a:moveTo>
                  <a:lnTo>
                    <a:pt x="492" y="221"/>
                  </a:lnTo>
                  <a:lnTo>
                    <a:pt x="492" y="229"/>
                  </a:lnTo>
                  <a:lnTo>
                    <a:pt x="492" y="236"/>
                  </a:lnTo>
                  <a:lnTo>
                    <a:pt x="492" y="242"/>
                  </a:lnTo>
                  <a:lnTo>
                    <a:pt x="169" y="242"/>
                  </a:lnTo>
                  <a:lnTo>
                    <a:pt x="175" y="226"/>
                  </a:lnTo>
                  <a:lnTo>
                    <a:pt x="182" y="210"/>
                  </a:lnTo>
                  <a:lnTo>
                    <a:pt x="190" y="195"/>
                  </a:lnTo>
                  <a:lnTo>
                    <a:pt x="199" y="181"/>
                  </a:lnTo>
                  <a:lnTo>
                    <a:pt x="208" y="167"/>
                  </a:lnTo>
                  <a:lnTo>
                    <a:pt x="217" y="154"/>
                  </a:lnTo>
                  <a:lnTo>
                    <a:pt x="228" y="142"/>
                  </a:lnTo>
                  <a:lnTo>
                    <a:pt x="239" y="131"/>
                  </a:lnTo>
                  <a:lnTo>
                    <a:pt x="251" y="122"/>
                  </a:lnTo>
                  <a:lnTo>
                    <a:pt x="264" y="113"/>
                  </a:lnTo>
                  <a:lnTo>
                    <a:pt x="278" y="106"/>
                  </a:lnTo>
                  <a:lnTo>
                    <a:pt x="293" y="100"/>
                  </a:lnTo>
                  <a:lnTo>
                    <a:pt x="309" y="95"/>
                  </a:lnTo>
                  <a:lnTo>
                    <a:pt x="326" y="91"/>
                  </a:lnTo>
                  <a:lnTo>
                    <a:pt x="343" y="89"/>
                  </a:lnTo>
                  <a:lnTo>
                    <a:pt x="363" y="88"/>
                  </a:lnTo>
                  <a:lnTo>
                    <a:pt x="376" y="89"/>
                  </a:lnTo>
                  <a:lnTo>
                    <a:pt x="389" y="90"/>
                  </a:lnTo>
                  <a:lnTo>
                    <a:pt x="401" y="93"/>
                  </a:lnTo>
                  <a:lnTo>
                    <a:pt x="413" y="97"/>
                  </a:lnTo>
                  <a:lnTo>
                    <a:pt x="424" y="102"/>
                  </a:lnTo>
                  <a:lnTo>
                    <a:pt x="435" y="107"/>
                  </a:lnTo>
                  <a:lnTo>
                    <a:pt x="445" y="114"/>
                  </a:lnTo>
                  <a:lnTo>
                    <a:pt x="454" y="121"/>
                  </a:lnTo>
                  <a:lnTo>
                    <a:pt x="462" y="130"/>
                  </a:lnTo>
                  <a:lnTo>
                    <a:pt x="470" y="139"/>
                  </a:lnTo>
                  <a:lnTo>
                    <a:pt x="477" y="149"/>
                  </a:lnTo>
                  <a:lnTo>
                    <a:pt x="482" y="159"/>
                  </a:lnTo>
                  <a:lnTo>
                    <a:pt x="486" y="172"/>
                  </a:lnTo>
                  <a:lnTo>
                    <a:pt x="490" y="184"/>
                  </a:lnTo>
                  <a:lnTo>
                    <a:pt x="491" y="197"/>
                  </a:lnTo>
                  <a:lnTo>
                    <a:pt x="492" y="210"/>
                  </a:lnTo>
                  <a:close/>
                  <a:moveTo>
                    <a:pt x="605" y="218"/>
                  </a:moveTo>
                  <a:lnTo>
                    <a:pt x="604" y="205"/>
                  </a:lnTo>
                  <a:lnTo>
                    <a:pt x="603" y="193"/>
                  </a:lnTo>
                  <a:lnTo>
                    <a:pt x="602" y="181"/>
                  </a:lnTo>
                  <a:lnTo>
                    <a:pt x="600" y="169"/>
                  </a:lnTo>
                  <a:lnTo>
                    <a:pt x="597" y="157"/>
                  </a:lnTo>
                  <a:lnTo>
                    <a:pt x="594" y="146"/>
                  </a:lnTo>
                  <a:lnTo>
                    <a:pt x="590" y="136"/>
                  </a:lnTo>
                  <a:lnTo>
                    <a:pt x="586" y="125"/>
                  </a:lnTo>
                  <a:lnTo>
                    <a:pt x="582" y="116"/>
                  </a:lnTo>
                  <a:lnTo>
                    <a:pt x="576" y="106"/>
                  </a:lnTo>
                  <a:lnTo>
                    <a:pt x="571" y="97"/>
                  </a:lnTo>
                  <a:lnTo>
                    <a:pt x="565" y="88"/>
                  </a:lnTo>
                  <a:lnTo>
                    <a:pt x="558" y="80"/>
                  </a:lnTo>
                  <a:lnTo>
                    <a:pt x="551" y="72"/>
                  </a:lnTo>
                  <a:lnTo>
                    <a:pt x="544" y="64"/>
                  </a:lnTo>
                  <a:lnTo>
                    <a:pt x="536" y="57"/>
                  </a:lnTo>
                  <a:lnTo>
                    <a:pt x="528" y="50"/>
                  </a:lnTo>
                  <a:lnTo>
                    <a:pt x="520" y="44"/>
                  </a:lnTo>
                  <a:lnTo>
                    <a:pt x="511" y="38"/>
                  </a:lnTo>
                  <a:lnTo>
                    <a:pt x="502" y="33"/>
                  </a:lnTo>
                  <a:lnTo>
                    <a:pt x="483" y="23"/>
                  </a:lnTo>
                  <a:lnTo>
                    <a:pt x="461" y="15"/>
                  </a:lnTo>
                  <a:lnTo>
                    <a:pt x="440" y="8"/>
                  </a:lnTo>
                  <a:lnTo>
                    <a:pt x="417" y="4"/>
                  </a:lnTo>
                  <a:lnTo>
                    <a:pt x="394" y="1"/>
                  </a:lnTo>
                  <a:lnTo>
                    <a:pt x="371" y="0"/>
                  </a:lnTo>
                  <a:lnTo>
                    <a:pt x="346" y="1"/>
                  </a:lnTo>
                  <a:lnTo>
                    <a:pt x="323" y="3"/>
                  </a:lnTo>
                  <a:lnTo>
                    <a:pt x="300" y="6"/>
                  </a:lnTo>
                  <a:lnTo>
                    <a:pt x="279" y="11"/>
                  </a:lnTo>
                  <a:lnTo>
                    <a:pt x="258" y="18"/>
                  </a:lnTo>
                  <a:lnTo>
                    <a:pt x="238" y="25"/>
                  </a:lnTo>
                  <a:lnTo>
                    <a:pt x="219" y="34"/>
                  </a:lnTo>
                  <a:lnTo>
                    <a:pt x="201" y="44"/>
                  </a:lnTo>
                  <a:lnTo>
                    <a:pt x="183" y="55"/>
                  </a:lnTo>
                  <a:lnTo>
                    <a:pt x="166" y="66"/>
                  </a:lnTo>
                  <a:lnTo>
                    <a:pt x="151" y="79"/>
                  </a:lnTo>
                  <a:lnTo>
                    <a:pt x="136" y="93"/>
                  </a:lnTo>
                  <a:lnTo>
                    <a:pt x="122" y="108"/>
                  </a:lnTo>
                  <a:lnTo>
                    <a:pt x="109" y="123"/>
                  </a:lnTo>
                  <a:lnTo>
                    <a:pt x="97" y="140"/>
                  </a:lnTo>
                  <a:lnTo>
                    <a:pt x="85" y="157"/>
                  </a:lnTo>
                  <a:lnTo>
                    <a:pt x="75" y="175"/>
                  </a:lnTo>
                  <a:lnTo>
                    <a:pt x="65" y="193"/>
                  </a:lnTo>
                  <a:lnTo>
                    <a:pt x="55" y="212"/>
                  </a:lnTo>
                  <a:lnTo>
                    <a:pt x="47" y="232"/>
                  </a:lnTo>
                  <a:lnTo>
                    <a:pt x="39" y="251"/>
                  </a:lnTo>
                  <a:lnTo>
                    <a:pt x="32" y="272"/>
                  </a:lnTo>
                  <a:lnTo>
                    <a:pt x="26" y="292"/>
                  </a:lnTo>
                  <a:lnTo>
                    <a:pt x="20" y="313"/>
                  </a:lnTo>
                  <a:lnTo>
                    <a:pt x="15" y="334"/>
                  </a:lnTo>
                  <a:lnTo>
                    <a:pt x="11" y="355"/>
                  </a:lnTo>
                  <a:lnTo>
                    <a:pt x="8" y="376"/>
                  </a:lnTo>
                  <a:lnTo>
                    <a:pt x="5" y="398"/>
                  </a:lnTo>
                  <a:lnTo>
                    <a:pt x="3" y="419"/>
                  </a:lnTo>
                  <a:lnTo>
                    <a:pt x="1" y="442"/>
                  </a:lnTo>
                  <a:lnTo>
                    <a:pt x="0" y="463"/>
                  </a:lnTo>
                  <a:lnTo>
                    <a:pt x="0" y="484"/>
                  </a:lnTo>
                  <a:lnTo>
                    <a:pt x="0" y="504"/>
                  </a:lnTo>
                  <a:lnTo>
                    <a:pt x="1" y="523"/>
                  </a:lnTo>
                  <a:lnTo>
                    <a:pt x="3" y="542"/>
                  </a:lnTo>
                  <a:lnTo>
                    <a:pt x="5" y="560"/>
                  </a:lnTo>
                  <a:lnTo>
                    <a:pt x="8" y="578"/>
                  </a:lnTo>
                  <a:lnTo>
                    <a:pt x="12" y="594"/>
                  </a:lnTo>
                  <a:lnTo>
                    <a:pt x="16" y="610"/>
                  </a:lnTo>
                  <a:lnTo>
                    <a:pt x="21" y="626"/>
                  </a:lnTo>
                  <a:lnTo>
                    <a:pt x="26" y="641"/>
                  </a:lnTo>
                  <a:lnTo>
                    <a:pt x="32" y="655"/>
                  </a:lnTo>
                  <a:lnTo>
                    <a:pt x="39" y="668"/>
                  </a:lnTo>
                  <a:lnTo>
                    <a:pt x="46" y="681"/>
                  </a:lnTo>
                  <a:lnTo>
                    <a:pt x="54" y="693"/>
                  </a:lnTo>
                  <a:lnTo>
                    <a:pt x="63" y="705"/>
                  </a:lnTo>
                  <a:lnTo>
                    <a:pt x="72" y="716"/>
                  </a:lnTo>
                  <a:lnTo>
                    <a:pt x="82" y="727"/>
                  </a:lnTo>
                  <a:lnTo>
                    <a:pt x="93" y="737"/>
                  </a:lnTo>
                  <a:lnTo>
                    <a:pt x="104" y="746"/>
                  </a:lnTo>
                  <a:lnTo>
                    <a:pt x="115" y="754"/>
                  </a:lnTo>
                  <a:lnTo>
                    <a:pt x="128" y="762"/>
                  </a:lnTo>
                  <a:lnTo>
                    <a:pt x="141" y="769"/>
                  </a:lnTo>
                  <a:lnTo>
                    <a:pt x="154" y="776"/>
                  </a:lnTo>
                  <a:lnTo>
                    <a:pt x="168" y="782"/>
                  </a:lnTo>
                  <a:lnTo>
                    <a:pt x="183" y="787"/>
                  </a:lnTo>
                  <a:lnTo>
                    <a:pt x="199" y="791"/>
                  </a:lnTo>
                  <a:lnTo>
                    <a:pt x="215" y="795"/>
                  </a:lnTo>
                  <a:lnTo>
                    <a:pt x="231" y="799"/>
                  </a:lnTo>
                  <a:lnTo>
                    <a:pt x="249" y="802"/>
                  </a:lnTo>
                  <a:lnTo>
                    <a:pt x="266" y="804"/>
                  </a:lnTo>
                  <a:lnTo>
                    <a:pt x="284" y="805"/>
                  </a:lnTo>
                  <a:lnTo>
                    <a:pt x="303" y="806"/>
                  </a:lnTo>
                  <a:lnTo>
                    <a:pt x="322" y="806"/>
                  </a:lnTo>
                  <a:lnTo>
                    <a:pt x="343" y="806"/>
                  </a:lnTo>
                  <a:lnTo>
                    <a:pt x="365" y="805"/>
                  </a:lnTo>
                  <a:lnTo>
                    <a:pt x="386" y="803"/>
                  </a:lnTo>
                  <a:lnTo>
                    <a:pt x="407" y="800"/>
                  </a:lnTo>
                  <a:lnTo>
                    <a:pt x="428" y="797"/>
                  </a:lnTo>
                  <a:lnTo>
                    <a:pt x="449" y="793"/>
                  </a:lnTo>
                  <a:lnTo>
                    <a:pt x="471" y="788"/>
                  </a:lnTo>
                  <a:lnTo>
                    <a:pt x="492" y="782"/>
                  </a:lnTo>
                  <a:lnTo>
                    <a:pt x="508" y="693"/>
                  </a:lnTo>
                  <a:lnTo>
                    <a:pt x="478" y="699"/>
                  </a:lnTo>
                  <a:lnTo>
                    <a:pt x="446" y="704"/>
                  </a:lnTo>
                  <a:lnTo>
                    <a:pt x="430" y="706"/>
                  </a:lnTo>
                  <a:lnTo>
                    <a:pt x="413" y="708"/>
                  </a:lnTo>
                  <a:lnTo>
                    <a:pt x="396" y="709"/>
                  </a:lnTo>
                  <a:lnTo>
                    <a:pt x="379" y="709"/>
                  </a:lnTo>
                  <a:lnTo>
                    <a:pt x="363" y="709"/>
                  </a:lnTo>
                  <a:lnTo>
                    <a:pt x="348" y="708"/>
                  </a:lnTo>
                  <a:lnTo>
                    <a:pt x="333" y="707"/>
                  </a:lnTo>
                  <a:lnTo>
                    <a:pt x="319" y="705"/>
                  </a:lnTo>
                  <a:lnTo>
                    <a:pt x="306" y="703"/>
                  </a:lnTo>
                  <a:lnTo>
                    <a:pt x="293" y="701"/>
                  </a:lnTo>
                  <a:lnTo>
                    <a:pt x="280" y="697"/>
                  </a:lnTo>
                  <a:lnTo>
                    <a:pt x="268" y="694"/>
                  </a:lnTo>
                  <a:lnTo>
                    <a:pt x="257" y="690"/>
                  </a:lnTo>
                  <a:lnTo>
                    <a:pt x="246" y="685"/>
                  </a:lnTo>
                  <a:lnTo>
                    <a:pt x="235" y="680"/>
                  </a:lnTo>
                  <a:lnTo>
                    <a:pt x="226" y="674"/>
                  </a:lnTo>
                  <a:lnTo>
                    <a:pt x="216" y="668"/>
                  </a:lnTo>
                  <a:lnTo>
                    <a:pt x="207" y="662"/>
                  </a:lnTo>
                  <a:lnTo>
                    <a:pt x="199" y="654"/>
                  </a:lnTo>
                  <a:lnTo>
                    <a:pt x="191" y="647"/>
                  </a:lnTo>
                  <a:lnTo>
                    <a:pt x="182" y="639"/>
                  </a:lnTo>
                  <a:lnTo>
                    <a:pt x="175" y="630"/>
                  </a:lnTo>
                  <a:lnTo>
                    <a:pt x="169" y="621"/>
                  </a:lnTo>
                  <a:lnTo>
                    <a:pt x="163" y="611"/>
                  </a:lnTo>
                  <a:lnTo>
                    <a:pt x="157" y="601"/>
                  </a:lnTo>
                  <a:lnTo>
                    <a:pt x="152" y="590"/>
                  </a:lnTo>
                  <a:lnTo>
                    <a:pt x="148" y="579"/>
                  </a:lnTo>
                  <a:lnTo>
                    <a:pt x="144" y="567"/>
                  </a:lnTo>
                  <a:lnTo>
                    <a:pt x="140" y="554"/>
                  </a:lnTo>
                  <a:lnTo>
                    <a:pt x="137" y="541"/>
                  </a:lnTo>
                  <a:lnTo>
                    <a:pt x="134" y="528"/>
                  </a:lnTo>
                  <a:lnTo>
                    <a:pt x="132" y="514"/>
                  </a:lnTo>
                  <a:lnTo>
                    <a:pt x="131" y="499"/>
                  </a:lnTo>
                  <a:lnTo>
                    <a:pt x="129" y="484"/>
                  </a:lnTo>
                  <a:lnTo>
                    <a:pt x="129" y="468"/>
                  </a:lnTo>
                  <a:lnTo>
                    <a:pt x="128" y="452"/>
                  </a:lnTo>
                  <a:lnTo>
                    <a:pt x="129" y="436"/>
                  </a:lnTo>
                  <a:lnTo>
                    <a:pt x="130" y="421"/>
                  </a:lnTo>
                  <a:lnTo>
                    <a:pt x="131" y="406"/>
                  </a:lnTo>
                  <a:lnTo>
                    <a:pt x="133" y="391"/>
                  </a:lnTo>
                  <a:lnTo>
                    <a:pt x="139" y="361"/>
                  </a:lnTo>
                  <a:lnTo>
                    <a:pt x="145" y="330"/>
                  </a:lnTo>
                  <a:lnTo>
                    <a:pt x="589" y="330"/>
                  </a:lnTo>
                  <a:lnTo>
                    <a:pt x="594" y="305"/>
                  </a:lnTo>
                  <a:lnTo>
                    <a:pt x="600" y="277"/>
                  </a:lnTo>
                  <a:lnTo>
                    <a:pt x="602" y="263"/>
                  </a:lnTo>
                  <a:lnTo>
                    <a:pt x="603" y="248"/>
                  </a:lnTo>
                  <a:lnTo>
                    <a:pt x="604" y="233"/>
                  </a:lnTo>
                  <a:lnTo>
                    <a:pt x="605" y="21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  <a:cs typeface="+mn-cs"/>
              </a:endParaRPr>
            </a:p>
          </p:txBody>
        </p:sp>
        <p:sp>
          <p:nvSpPr>
            <p:cNvPr id="24" name="Freeform 20"/>
            <p:cNvSpPr>
              <a:spLocks/>
            </p:cNvSpPr>
            <p:nvPr/>
          </p:nvSpPr>
          <p:spPr bwMode="gray">
            <a:xfrm>
              <a:off x="1423988" y="3751263"/>
              <a:ext cx="111125" cy="169862"/>
            </a:xfrm>
            <a:custGeom>
              <a:avLst/>
              <a:gdLst/>
              <a:ahLst/>
              <a:cxnLst>
                <a:cxn ang="0">
                  <a:pos x="500" y="120"/>
                </a:cxn>
                <a:cxn ang="0">
                  <a:pos x="479" y="121"/>
                </a:cxn>
                <a:cxn ang="0">
                  <a:pos x="459" y="123"/>
                </a:cxn>
                <a:cxn ang="0">
                  <a:pos x="441" y="125"/>
                </a:cxn>
                <a:cxn ang="0">
                  <a:pos x="422" y="129"/>
                </a:cxn>
                <a:cxn ang="0">
                  <a:pos x="405" y="134"/>
                </a:cxn>
                <a:cxn ang="0">
                  <a:pos x="388" y="139"/>
                </a:cxn>
                <a:cxn ang="0">
                  <a:pos x="372" y="146"/>
                </a:cxn>
                <a:cxn ang="0">
                  <a:pos x="357" y="153"/>
                </a:cxn>
                <a:cxn ang="0">
                  <a:pos x="343" y="163"/>
                </a:cxn>
                <a:cxn ang="0">
                  <a:pos x="329" y="172"/>
                </a:cxn>
                <a:cxn ang="0">
                  <a:pos x="316" y="182"/>
                </a:cxn>
                <a:cxn ang="0">
                  <a:pos x="304" y="192"/>
                </a:cxn>
                <a:cxn ang="0">
                  <a:pos x="293" y="203"/>
                </a:cxn>
                <a:cxn ang="0">
                  <a:pos x="282" y="215"/>
                </a:cxn>
                <a:cxn ang="0">
                  <a:pos x="272" y="228"/>
                </a:cxn>
                <a:cxn ang="0">
                  <a:pos x="262" y="241"/>
                </a:cxn>
                <a:cxn ang="0">
                  <a:pos x="253" y="255"/>
                </a:cxn>
                <a:cxn ang="0">
                  <a:pos x="244" y="269"/>
                </a:cxn>
                <a:cxn ang="0">
                  <a:pos x="236" y="283"/>
                </a:cxn>
                <a:cxn ang="0">
                  <a:pos x="228" y="298"/>
                </a:cxn>
                <a:cxn ang="0">
                  <a:pos x="221" y="314"/>
                </a:cxn>
                <a:cxn ang="0">
                  <a:pos x="215" y="330"/>
                </a:cxn>
                <a:cxn ang="0">
                  <a:pos x="209" y="346"/>
                </a:cxn>
                <a:cxn ang="0">
                  <a:pos x="203" y="362"/>
                </a:cxn>
                <a:cxn ang="0">
                  <a:pos x="192" y="396"/>
                </a:cxn>
                <a:cxn ang="0">
                  <a:pos x="184" y="430"/>
                </a:cxn>
                <a:cxn ang="0">
                  <a:pos x="176" y="465"/>
                </a:cxn>
                <a:cxn ang="0">
                  <a:pos x="169" y="500"/>
                </a:cxn>
                <a:cxn ang="0">
                  <a:pos x="112" y="790"/>
                </a:cxn>
                <a:cxn ang="0">
                  <a:pos x="0" y="790"/>
                </a:cxn>
                <a:cxn ang="0">
                  <a:pos x="145" y="16"/>
                </a:cxn>
                <a:cxn ang="0">
                  <a:pos x="266" y="16"/>
                </a:cxn>
                <a:cxn ang="0">
                  <a:pos x="234" y="170"/>
                </a:cxn>
                <a:cxn ang="0">
                  <a:pos x="245" y="147"/>
                </a:cxn>
                <a:cxn ang="0">
                  <a:pos x="257" y="127"/>
                </a:cxn>
                <a:cxn ang="0">
                  <a:pos x="270" y="108"/>
                </a:cxn>
                <a:cxn ang="0">
                  <a:pos x="283" y="91"/>
                </a:cxn>
                <a:cxn ang="0">
                  <a:pos x="298" y="76"/>
                </a:cxn>
                <a:cxn ang="0">
                  <a:pos x="314" y="62"/>
                </a:cxn>
                <a:cxn ang="0">
                  <a:pos x="331" y="50"/>
                </a:cxn>
                <a:cxn ang="0">
                  <a:pos x="348" y="39"/>
                </a:cxn>
                <a:cxn ang="0">
                  <a:pos x="367" y="30"/>
                </a:cxn>
                <a:cxn ang="0">
                  <a:pos x="386" y="22"/>
                </a:cxn>
                <a:cxn ang="0">
                  <a:pos x="408" y="15"/>
                </a:cxn>
                <a:cxn ang="0">
                  <a:pos x="429" y="9"/>
                </a:cxn>
                <a:cxn ang="0">
                  <a:pos x="451" y="5"/>
                </a:cxn>
                <a:cxn ang="0">
                  <a:pos x="475" y="2"/>
                </a:cxn>
                <a:cxn ang="0">
                  <a:pos x="499" y="0"/>
                </a:cxn>
                <a:cxn ang="0">
                  <a:pos x="524" y="0"/>
                </a:cxn>
                <a:cxn ang="0">
                  <a:pos x="500" y="120"/>
                </a:cxn>
              </a:cxnLst>
              <a:rect l="0" t="0" r="r" b="b"/>
              <a:pathLst>
                <a:path w="524" h="790">
                  <a:moveTo>
                    <a:pt x="500" y="120"/>
                  </a:moveTo>
                  <a:lnTo>
                    <a:pt x="479" y="121"/>
                  </a:lnTo>
                  <a:lnTo>
                    <a:pt x="459" y="123"/>
                  </a:lnTo>
                  <a:lnTo>
                    <a:pt x="441" y="125"/>
                  </a:lnTo>
                  <a:lnTo>
                    <a:pt x="422" y="129"/>
                  </a:lnTo>
                  <a:lnTo>
                    <a:pt x="405" y="134"/>
                  </a:lnTo>
                  <a:lnTo>
                    <a:pt x="388" y="139"/>
                  </a:lnTo>
                  <a:lnTo>
                    <a:pt x="372" y="146"/>
                  </a:lnTo>
                  <a:lnTo>
                    <a:pt x="357" y="153"/>
                  </a:lnTo>
                  <a:lnTo>
                    <a:pt x="343" y="163"/>
                  </a:lnTo>
                  <a:lnTo>
                    <a:pt x="329" y="172"/>
                  </a:lnTo>
                  <a:lnTo>
                    <a:pt x="316" y="182"/>
                  </a:lnTo>
                  <a:lnTo>
                    <a:pt x="304" y="192"/>
                  </a:lnTo>
                  <a:lnTo>
                    <a:pt x="293" y="203"/>
                  </a:lnTo>
                  <a:lnTo>
                    <a:pt x="282" y="215"/>
                  </a:lnTo>
                  <a:lnTo>
                    <a:pt x="272" y="228"/>
                  </a:lnTo>
                  <a:lnTo>
                    <a:pt x="262" y="241"/>
                  </a:lnTo>
                  <a:lnTo>
                    <a:pt x="253" y="255"/>
                  </a:lnTo>
                  <a:lnTo>
                    <a:pt x="244" y="269"/>
                  </a:lnTo>
                  <a:lnTo>
                    <a:pt x="236" y="283"/>
                  </a:lnTo>
                  <a:lnTo>
                    <a:pt x="228" y="298"/>
                  </a:lnTo>
                  <a:lnTo>
                    <a:pt x="221" y="314"/>
                  </a:lnTo>
                  <a:lnTo>
                    <a:pt x="215" y="330"/>
                  </a:lnTo>
                  <a:lnTo>
                    <a:pt x="209" y="346"/>
                  </a:lnTo>
                  <a:lnTo>
                    <a:pt x="203" y="362"/>
                  </a:lnTo>
                  <a:lnTo>
                    <a:pt x="192" y="396"/>
                  </a:lnTo>
                  <a:lnTo>
                    <a:pt x="184" y="430"/>
                  </a:lnTo>
                  <a:lnTo>
                    <a:pt x="176" y="465"/>
                  </a:lnTo>
                  <a:lnTo>
                    <a:pt x="169" y="500"/>
                  </a:lnTo>
                  <a:lnTo>
                    <a:pt x="112" y="790"/>
                  </a:lnTo>
                  <a:lnTo>
                    <a:pt x="0" y="790"/>
                  </a:lnTo>
                  <a:lnTo>
                    <a:pt x="145" y="16"/>
                  </a:lnTo>
                  <a:lnTo>
                    <a:pt x="266" y="16"/>
                  </a:lnTo>
                  <a:lnTo>
                    <a:pt x="234" y="170"/>
                  </a:lnTo>
                  <a:lnTo>
                    <a:pt x="245" y="147"/>
                  </a:lnTo>
                  <a:lnTo>
                    <a:pt x="257" y="127"/>
                  </a:lnTo>
                  <a:lnTo>
                    <a:pt x="270" y="108"/>
                  </a:lnTo>
                  <a:lnTo>
                    <a:pt x="283" y="91"/>
                  </a:lnTo>
                  <a:lnTo>
                    <a:pt x="298" y="76"/>
                  </a:lnTo>
                  <a:lnTo>
                    <a:pt x="314" y="62"/>
                  </a:lnTo>
                  <a:lnTo>
                    <a:pt x="331" y="50"/>
                  </a:lnTo>
                  <a:lnTo>
                    <a:pt x="348" y="39"/>
                  </a:lnTo>
                  <a:lnTo>
                    <a:pt x="367" y="30"/>
                  </a:lnTo>
                  <a:lnTo>
                    <a:pt x="386" y="22"/>
                  </a:lnTo>
                  <a:lnTo>
                    <a:pt x="408" y="15"/>
                  </a:lnTo>
                  <a:lnTo>
                    <a:pt x="429" y="9"/>
                  </a:lnTo>
                  <a:lnTo>
                    <a:pt x="451" y="5"/>
                  </a:lnTo>
                  <a:lnTo>
                    <a:pt x="475" y="2"/>
                  </a:lnTo>
                  <a:lnTo>
                    <a:pt x="499" y="0"/>
                  </a:lnTo>
                  <a:lnTo>
                    <a:pt x="524" y="0"/>
                  </a:lnTo>
                  <a:lnTo>
                    <a:pt x="500" y="1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  <a:cs typeface="+mn-cs"/>
              </a:endParaRPr>
            </a:p>
          </p:txBody>
        </p:sp>
        <p:sp>
          <p:nvSpPr>
            <p:cNvPr id="25" name="Freeform 21"/>
            <p:cNvSpPr>
              <a:spLocks/>
            </p:cNvSpPr>
            <p:nvPr/>
          </p:nvSpPr>
          <p:spPr bwMode="gray">
            <a:xfrm>
              <a:off x="1550988" y="3676650"/>
              <a:ext cx="130175" cy="244475"/>
            </a:xfrm>
            <a:custGeom>
              <a:avLst/>
              <a:gdLst/>
              <a:ahLst/>
              <a:cxnLst>
                <a:cxn ang="0">
                  <a:pos x="551" y="107"/>
                </a:cxn>
                <a:cxn ang="0">
                  <a:pos x="506" y="100"/>
                </a:cxn>
                <a:cxn ang="0">
                  <a:pos x="475" y="97"/>
                </a:cxn>
                <a:cxn ang="0">
                  <a:pos x="445" y="97"/>
                </a:cxn>
                <a:cxn ang="0">
                  <a:pos x="417" y="100"/>
                </a:cxn>
                <a:cxn ang="0">
                  <a:pos x="392" y="106"/>
                </a:cxn>
                <a:cxn ang="0">
                  <a:pos x="371" y="115"/>
                </a:cxn>
                <a:cxn ang="0">
                  <a:pos x="351" y="126"/>
                </a:cxn>
                <a:cxn ang="0">
                  <a:pos x="335" y="139"/>
                </a:cxn>
                <a:cxn ang="0">
                  <a:pos x="321" y="155"/>
                </a:cxn>
                <a:cxn ang="0">
                  <a:pos x="310" y="172"/>
                </a:cxn>
                <a:cxn ang="0">
                  <a:pos x="296" y="201"/>
                </a:cxn>
                <a:cxn ang="0">
                  <a:pos x="282" y="244"/>
                </a:cxn>
                <a:cxn ang="0">
                  <a:pos x="267" y="315"/>
                </a:cxn>
                <a:cxn ang="0">
                  <a:pos x="485" y="363"/>
                </a:cxn>
                <a:cxn ang="0">
                  <a:pos x="242" y="451"/>
                </a:cxn>
                <a:cxn ang="0">
                  <a:pos x="0" y="1137"/>
                </a:cxn>
                <a:cxn ang="0">
                  <a:pos x="0" y="451"/>
                </a:cxn>
                <a:cxn ang="0">
                  <a:pos x="146" y="363"/>
                </a:cxn>
                <a:cxn ang="0">
                  <a:pos x="163" y="287"/>
                </a:cxn>
                <a:cxn ang="0">
                  <a:pos x="182" y="217"/>
                </a:cxn>
                <a:cxn ang="0">
                  <a:pos x="204" y="156"/>
                </a:cxn>
                <a:cxn ang="0">
                  <a:pos x="217" y="128"/>
                </a:cxn>
                <a:cxn ang="0">
                  <a:pos x="232" y="103"/>
                </a:cxn>
                <a:cxn ang="0">
                  <a:pos x="250" y="80"/>
                </a:cxn>
                <a:cxn ang="0">
                  <a:pos x="271" y="60"/>
                </a:cxn>
                <a:cxn ang="0">
                  <a:pos x="295" y="42"/>
                </a:cxn>
                <a:cxn ang="0">
                  <a:pos x="322" y="27"/>
                </a:cxn>
                <a:cxn ang="0">
                  <a:pos x="354" y="16"/>
                </a:cxn>
                <a:cxn ang="0">
                  <a:pos x="390" y="7"/>
                </a:cxn>
                <a:cxn ang="0">
                  <a:pos x="431" y="2"/>
                </a:cxn>
                <a:cxn ang="0">
                  <a:pos x="477" y="0"/>
                </a:cxn>
                <a:cxn ang="0">
                  <a:pos x="507" y="2"/>
                </a:cxn>
                <a:cxn ang="0">
                  <a:pos x="537" y="5"/>
                </a:cxn>
                <a:cxn ang="0">
                  <a:pos x="597" y="16"/>
                </a:cxn>
              </a:cxnLst>
              <a:rect l="0" t="0" r="r" b="b"/>
              <a:pathLst>
                <a:path w="597" h="1137">
                  <a:moveTo>
                    <a:pt x="581" y="113"/>
                  </a:moveTo>
                  <a:lnTo>
                    <a:pt x="551" y="107"/>
                  </a:lnTo>
                  <a:lnTo>
                    <a:pt x="521" y="102"/>
                  </a:lnTo>
                  <a:lnTo>
                    <a:pt x="506" y="100"/>
                  </a:lnTo>
                  <a:lnTo>
                    <a:pt x="491" y="98"/>
                  </a:lnTo>
                  <a:lnTo>
                    <a:pt x="475" y="97"/>
                  </a:lnTo>
                  <a:lnTo>
                    <a:pt x="460" y="97"/>
                  </a:lnTo>
                  <a:lnTo>
                    <a:pt x="445" y="97"/>
                  </a:lnTo>
                  <a:lnTo>
                    <a:pt x="431" y="98"/>
                  </a:lnTo>
                  <a:lnTo>
                    <a:pt x="417" y="100"/>
                  </a:lnTo>
                  <a:lnTo>
                    <a:pt x="404" y="103"/>
                  </a:lnTo>
                  <a:lnTo>
                    <a:pt x="392" y="106"/>
                  </a:lnTo>
                  <a:lnTo>
                    <a:pt x="381" y="110"/>
                  </a:lnTo>
                  <a:lnTo>
                    <a:pt x="371" y="115"/>
                  </a:lnTo>
                  <a:lnTo>
                    <a:pt x="361" y="120"/>
                  </a:lnTo>
                  <a:lnTo>
                    <a:pt x="351" y="126"/>
                  </a:lnTo>
                  <a:lnTo>
                    <a:pt x="343" y="132"/>
                  </a:lnTo>
                  <a:lnTo>
                    <a:pt x="335" y="139"/>
                  </a:lnTo>
                  <a:lnTo>
                    <a:pt x="328" y="147"/>
                  </a:lnTo>
                  <a:lnTo>
                    <a:pt x="321" y="155"/>
                  </a:lnTo>
                  <a:lnTo>
                    <a:pt x="315" y="163"/>
                  </a:lnTo>
                  <a:lnTo>
                    <a:pt x="310" y="172"/>
                  </a:lnTo>
                  <a:lnTo>
                    <a:pt x="305" y="181"/>
                  </a:lnTo>
                  <a:lnTo>
                    <a:pt x="296" y="201"/>
                  </a:lnTo>
                  <a:lnTo>
                    <a:pt x="288" y="222"/>
                  </a:lnTo>
                  <a:lnTo>
                    <a:pt x="282" y="244"/>
                  </a:lnTo>
                  <a:lnTo>
                    <a:pt x="276" y="267"/>
                  </a:lnTo>
                  <a:lnTo>
                    <a:pt x="267" y="315"/>
                  </a:lnTo>
                  <a:lnTo>
                    <a:pt x="259" y="363"/>
                  </a:lnTo>
                  <a:lnTo>
                    <a:pt x="485" y="363"/>
                  </a:lnTo>
                  <a:lnTo>
                    <a:pt x="460" y="451"/>
                  </a:lnTo>
                  <a:lnTo>
                    <a:pt x="242" y="451"/>
                  </a:lnTo>
                  <a:lnTo>
                    <a:pt x="114" y="1137"/>
                  </a:lnTo>
                  <a:lnTo>
                    <a:pt x="0" y="1137"/>
                  </a:lnTo>
                  <a:lnTo>
                    <a:pt x="130" y="451"/>
                  </a:lnTo>
                  <a:lnTo>
                    <a:pt x="0" y="451"/>
                  </a:lnTo>
                  <a:lnTo>
                    <a:pt x="16" y="363"/>
                  </a:lnTo>
                  <a:lnTo>
                    <a:pt x="146" y="363"/>
                  </a:lnTo>
                  <a:lnTo>
                    <a:pt x="155" y="324"/>
                  </a:lnTo>
                  <a:lnTo>
                    <a:pt x="163" y="287"/>
                  </a:lnTo>
                  <a:lnTo>
                    <a:pt x="172" y="252"/>
                  </a:lnTo>
                  <a:lnTo>
                    <a:pt x="182" y="217"/>
                  </a:lnTo>
                  <a:lnTo>
                    <a:pt x="192" y="186"/>
                  </a:lnTo>
                  <a:lnTo>
                    <a:pt x="204" y="156"/>
                  </a:lnTo>
                  <a:lnTo>
                    <a:pt x="210" y="142"/>
                  </a:lnTo>
                  <a:lnTo>
                    <a:pt x="217" y="128"/>
                  </a:lnTo>
                  <a:lnTo>
                    <a:pt x="224" y="115"/>
                  </a:lnTo>
                  <a:lnTo>
                    <a:pt x="232" y="103"/>
                  </a:lnTo>
                  <a:lnTo>
                    <a:pt x="241" y="91"/>
                  </a:lnTo>
                  <a:lnTo>
                    <a:pt x="250" y="80"/>
                  </a:lnTo>
                  <a:lnTo>
                    <a:pt x="260" y="69"/>
                  </a:lnTo>
                  <a:lnTo>
                    <a:pt x="271" y="60"/>
                  </a:lnTo>
                  <a:lnTo>
                    <a:pt x="282" y="51"/>
                  </a:lnTo>
                  <a:lnTo>
                    <a:pt x="295" y="42"/>
                  </a:lnTo>
                  <a:lnTo>
                    <a:pt x="308" y="34"/>
                  </a:lnTo>
                  <a:lnTo>
                    <a:pt x="322" y="27"/>
                  </a:lnTo>
                  <a:lnTo>
                    <a:pt x="337" y="21"/>
                  </a:lnTo>
                  <a:lnTo>
                    <a:pt x="354" y="16"/>
                  </a:lnTo>
                  <a:lnTo>
                    <a:pt x="372" y="11"/>
                  </a:lnTo>
                  <a:lnTo>
                    <a:pt x="390" y="7"/>
                  </a:lnTo>
                  <a:lnTo>
                    <a:pt x="410" y="4"/>
                  </a:lnTo>
                  <a:lnTo>
                    <a:pt x="431" y="2"/>
                  </a:lnTo>
                  <a:lnTo>
                    <a:pt x="453" y="1"/>
                  </a:lnTo>
                  <a:lnTo>
                    <a:pt x="477" y="0"/>
                  </a:lnTo>
                  <a:lnTo>
                    <a:pt x="492" y="1"/>
                  </a:lnTo>
                  <a:lnTo>
                    <a:pt x="507" y="2"/>
                  </a:lnTo>
                  <a:lnTo>
                    <a:pt x="522" y="3"/>
                  </a:lnTo>
                  <a:lnTo>
                    <a:pt x="537" y="5"/>
                  </a:lnTo>
                  <a:lnTo>
                    <a:pt x="567" y="10"/>
                  </a:lnTo>
                  <a:lnTo>
                    <a:pt x="597" y="16"/>
                  </a:lnTo>
                  <a:lnTo>
                    <a:pt x="581" y="11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  <a:cs typeface="+mn-cs"/>
              </a:endParaRPr>
            </a:p>
          </p:txBody>
        </p:sp>
        <p:sp>
          <p:nvSpPr>
            <p:cNvPr id="26" name="Freeform 22"/>
            <p:cNvSpPr>
              <a:spLocks noEditPoints="1"/>
            </p:cNvSpPr>
            <p:nvPr/>
          </p:nvSpPr>
          <p:spPr bwMode="gray">
            <a:xfrm>
              <a:off x="1641475" y="3751263"/>
              <a:ext cx="142875" cy="173037"/>
            </a:xfrm>
            <a:custGeom>
              <a:avLst/>
              <a:gdLst/>
              <a:ahLst/>
              <a:cxnLst>
                <a:cxn ang="0">
                  <a:pos x="520" y="396"/>
                </a:cxn>
                <a:cxn ang="0">
                  <a:pos x="497" y="516"/>
                </a:cxn>
                <a:cxn ang="0">
                  <a:pos x="471" y="580"/>
                </a:cxn>
                <a:cxn ang="0">
                  <a:pos x="438" y="635"/>
                </a:cxn>
                <a:cxn ang="0">
                  <a:pos x="392" y="677"/>
                </a:cxn>
                <a:cxn ang="0">
                  <a:pos x="335" y="703"/>
                </a:cxn>
                <a:cxn ang="0">
                  <a:pos x="271" y="709"/>
                </a:cxn>
                <a:cxn ang="0">
                  <a:pos x="232" y="702"/>
                </a:cxn>
                <a:cxn ang="0">
                  <a:pos x="199" y="687"/>
                </a:cxn>
                <a:cxn ang="0">
                  <a:pos x="175" y="665"/>
                </a:cxn>
                <a:cxn ang="0">
                  <a:pos x="152" y="630"/>
                </a:cxn>
                <a:cxn ang="0">
                  <a:pos x="133" y="563"/>
                </a:cxn>
                <a:cxn ang="0">
                  <a:pos x="129" y="478"/>
                </a:cxn>
                <a:cxn ang="0">
                  <a:pos x="148" y="343"/>
                </a:cxn>
                <a:cxn ang="0">
                  <a:pos x="174" y="257"/>
                </a:cxn>
                <a:cxn ang="0">
                  <a:pos x="205" y="195"/>
                </a:cxn>
                <a:cxn ang="0">
                  <a:pos x="247" y="143"/>
                </a:cxn>
                <a:cxn ang="0">
                  <a:pos x="298" y="106"/>
                </a:cxn>
                <a:cxn ang="0">
                  <a:pos x="361" y="89"/>
                </a:cxn>
                <a:cxn ang="0">
                  <a:pos x="412" y="91"/>
                </a:cxn>
                <a:cxn ang="0">
                  <a:pos x="448" y="103"/>
                </a:cxn>
                <a:cxn ang="0">
                  <a:pos x="476" y="123"/>
                </a:cxn>
                <a:cxn ang="0">
                  <a:pos x="497" y="149"/>
                </a:cxn>
                <a:cxn ang="0">
                  <a:pos x="517" y="207"/>
                </a:cxn>
                <a:cxn ang="0">
                  <a:pos x="524" y="280"/>
                </a:cxn>
                <a:cxn ang="0">
                  <a:pos x="649" y="216"/>
                </a:cxn>
                <a:cxn ang="0">
                  <a:pos x="638" y="164"/>
                </a:cxn>
                <a:cxn ang="0">
                  <a:pos x="618" y="116"/>
                </a:cxn>
                <a:cxn ang="0">
                  <a:pos x="591" y="76"/>
                </a:cxn>
                <a:cxn ang="0">
                  <a:pos x="555" y="44"/>
                </a:cxn>
                <a:cxn ang="0">
                  <a:pos x="511" y="20"/>
                </a:cxn>
                <a:cxn ang="0">
                  <a:pos x="457" y="5"/>
                </a:cxn>
                <a:cxn ang="0">
                  <a:pos x="395" y="0"/>
                </a:cxn>
                <a:cxn ang="0">
                  <a:pos x="297" y="12"/>
                </a:cxn>
                <a:cxn ang="0">
                  <a:pos x="215" y="46"/>
                </a:cxn>
                <a:cxn ang="0">
                  <a:pos x="146" y="99"/>
                </a:cxn>
                <a:cxn ang="0">
                  <a:pos x="92" y="169"/>
                </a:cxn>
                <a:cxn ang="0">
                  <a:pos x="51" y="249"/>
                </a:cxn>
                <a:cxn ang="0">
                  <a:pos x="22" y="337"/>
                </a:cxn>
                <a:cxn ang="0">
                  <a:pos x="6" y="429"/>
                </a:cxn>
                <a:cxn ang="0">
                  <a:pos x="0" y="524"/>
                </a:cxn>
                <a:cxn ang="0">
                  <a:pos x="4" y="585"/>
                </a:cxn>
                <a:cxn ang="0">
                  <a:pos x="17" y="639"/>
                </a:cxn>
                <a:cxn ang="0">
                  <a:pos x="37" y="687"/>
                </a:cxn>
                <a:cxn ang="0">
                  <a:pos x="67" y="729"/>
                </a:cxn>
                <a:cxn ang="0">
                  <a:pos x="104" y="762"/>
                </a:cxn>
                <a:cxn ang="0">
                  <a:pos x="149" y="786"/>
                </a:cxn>
                <a:cxn ang="0">
                  <a:pos x="203" y="801"/>
                </a:cxn>
                <a:cxn ang="0">
                  <a:pos x="266" y="806"/>
                </a:cxn>
                <a:cxn ang="0">
                  <a:pos x="366" y="794"/>
                </a:cxn>
                <a:cxn ang="0">
                  <a:pos x="449" y="759"/>
                </a:cxn>
                <a:cxn ang="0">
                  <a:pos x="517" y="703"/>
                </a:cxn>
                <a:cxn ang="0">
                  <a:pos x="569" y="634"/>
                </a:cxn>
                <a:cxn ang="0">
                  <a:pos x="607" y="552"/>
                </a:cxn>
                <a:cxn ang="0">
                  <a:pos x="634" y="463"/>
                </a:cxn>
                <a:cxn ang="0">
                  <a:pos x="648" y="368"/>
                </a:cxn>
                <a:cxn ang="0">
                  <a:pos x="653" y="274"/>
                </a:cxn>
              </a:cxnLst>
              <a:rect l="0" t="0" r="r" b="b"/>
              <a:pathLst>
                <a:path w="653" h="806">
                  <a:moveTo>
                    <a:pt x="525" y="298"/>
                  </a:moveTo>
                  <a:lnTo>
                    <a:pt x="524" y="329"/>
                  </a:lnTo>
                  <a:lnTo>
                    <a:pt x="522" y="362"/>
                  </a:lnTo>
                  <a:lnTo>
                    <a:pt x="520" y="396"/>
                  </a:lnTo>
                  <a:lnTo>
                    <a:pt x="515" y="430"/>
                  </a:lnTo>
                  <a:lnTo>
                    <a:pt x="509" y="466"/>
                  </a:lnTo>
                  <a:lnTo>
                    <a:pt x="501" y="500"/>
                  </a:lnTo>
                  <a:lnTo>
                    <a:pt x="497" y="516"/>
                  </a:lnTo>
                  <a:lnTo>
                    <a:pt x="491" y="533"/>
                  </a:lnTo>
                  <a:lnTo>
                    <a:pt x="485" y="549"/>
                  </a:lnTo>
                  <a:lnTo>
                    <a:pt x="478" y="564"/>
                  </a:lnTo>
                  <a:lnTo>
                    <a:pt x="471" y="580"/>
                  </a:lnTo>
                  <a:lnTo>
                    <a:pt x="464" y="594"/>
                  </a:lnTo>
                  <a:lnTo>
                    <a:pt x="456" y="608"/>
                  </a:lnTo>
                  <a:lnTo>
                    <a:pt x="447" y="622"/>
                  </a:lnTo>
                  <a:lnTo>
                    <a:pt x="438" y="635"/>
                  </a:lnTo>
                  <a:lnTo>
                    <a:pt x="427" y="646"/>
                  </a:lnTo>
                  <a:lnTo>
                    <a:pt x="417" y="658"/>
                  </a:lnTo>
                  <a:lnTo>
                    <a:pt x="405" y="668"/>
                  </a:lnTo>
                  <a:lnTo>
                    <a:pt x="392" y="677"/>
                  </a:lnTo>
                  <a:lnTo>
                    <a:pt x="379" y="685"/>
                  </a:lnTo>
                  <a:lnTo>
                    <a:pt x="365" y="692"/>
                  </a:lnTo>
                  <a:lnTo>
                    <a:pt x="351" y="698"/>
                  </a:lnTo>
                  <a:lnTo>
                    <a:pt x="335" y="703"/>
                  </a:lnTo>
                  <a:lnTo>
                    <a:pt x="318" y="706"/>
                  </a:lnTo>
                  <a:lnTo>
                    <a:pt x="301" y="708"/>
                  </a:lnTo>
                  <a:lnTo>
                    <a:pt x="283" y="709"/>
                  </a:lnTo>
                  <a:lnTo>
                    <a:pt x="271" y="709"/>
                  </a:lnTo>
                  <a:lnTo>
                    <a:pt x="261" y="708"/>
                  </a:lnTo>
                  <a:lnTo>
                    <a:pt x="251" y="706"/>
                  </a:lnTo>
                  <a:lnTo>
                    <a:pt x="241" y="704"/>
                  </a:lnTo>
                  <a:lnTo>
                    <a:pt x="232" y="702"/>
                  </a:lnTo>
                  <a:lnTo>
                    <a:pt x="224" y="699"/>
                  </a:lnTo>
                  <a:lnTo>
                    <a:pt x="215" y="695"/>
                  </a:lnTo>
                  <a:lnTo>
                    <a:pt x="207" y="691"/>
                  </a:lnTo>
                  <a:lnTo>
                    <a:pt x="199" y="687"/>
                  </a:lnTo>
                  <a:lnTo>
                    <a:pt x="193" y="682"/>
                  </a:lnTo>
                  <a:lnTo>
                    <a:pt x="186" y="677"/>
                  </a:lnTo>
                  <a:lnTo>
                    <a:pt x="180" y="671"/>
                  </a:lnTo>
                  <a:lnTo>
                    <a:pt x="175" y="665"/>
                  </a:lnTo>
                  <a:lnTo>
                    <a:pt x="169" y="659"/>
                  </a:lnTo>
                  <a:lnTo>
                    <a:pt x="164" y="652"/>
                  </a:lnTo>
                  <a:lnTo>
                    <a:pt x="160" y="645"/>
                  </a:lnTo>
                  <a:lnTo>
                    <a:pt x="152" y="630"/>
                  </a:lnTo>
                  <a:lnTo>
                    <a:pt x="145" y="614"/>
                  </a:lnTo>
                  <a:lnTo>
                    <a:pt x="140" y="598"/>
                  </a:lnTo>
                  <a:lnTo>
                    <a:pt x="136" y="580"/>
                  </a:lnTo>
                  <a:lnTo>
                    <a:pt x="133" y="563"/>
                  </a:lnTo>
                  <a:lnTo>
                    <a:pt x="130" y="544"/>
                  </a:lnTo>
                  <a:lnTo>
                    <a:pt x="129" y="526"/>
                  </a:lnTo>
                  <a:lnTo>
                    <a:pt x="129" y="508"/>
                  </a:lnTo>
                  <a:lnTo>
                    <a:pt x="129" y="478"/>
                  </a:lnTo>
                  <a:lnTo>
                    <a:pt x="132" y="446"/>
                  </a:lnTo>
                  <a:lnTo>
                    <a:pt x="135" y="412"/>
                  </a:lnTo>
                  <a:lnTo>
                    <a:pt x="141" y="377"/>
                  </a:lnTo>
                  <a:lnTo>
                    <a:pt x="148" y="343"/>
                  </a:lnTo>
                  <a:lnTo>
                    <a:pt x="157" y="308"/>
                  </a:lnTo>
                  <a:lnTo>
                    <a:pt x="162" y="291"/>
                  </a:lnTo>
                  <a:lnTo>
                    <a:pt x="168" y="274"/>
                  </a:lnTo>
                  <a:lnTo>
                    <a:pt x="174" y="257"/>
                  </a:lnTo>
                  <a:lnTo>
                    <a:pt x="181" y="241"/>
                  </a:lnTo>
                  <a:lnTo>
                    <a:pt x="188" y="225"/>
                  </a:lnTo>
                  <a:lnTo>
                    <a:pt x="196" y="210"/>
                  </a:lnTo>
                  <a:lnTo>
                    <a:pt x="205" y="195"/>
                  </a:lnTo>
                  <a:lnTo>
                    <a:pt x="215" y="181"/>
                  </a:lnTo>
                  <a:lnTo>
                    <a:pt x="225" y="168"/>
                  </a:lnTo>
                  <a:lnTo>
                    <a:pt x="236" y="154"/>
                  </a:lnTo>
                  <a:lnTo>
                    <a:pt x="247" y="143"/>
                  </a:lnTo>
                  <a:lnTo>
                    <a:pt x="259" y="132"/>
                  </a:lnTo>
                  <a:lnTo>
                    <a:pt x="271" y="122"/>
                  </a:lnTo>
                  <a:lnTo>
                    <a:pt x="284" y="114"/>
                  </a:lnTo>
                  <a:lnTo>
                    <a:pt x="298" y="106"/>
                  </a:lnTo>
                  <a:lnTo>
                    <a:pt x="313" y="100"/>
                  </a:lnTo>
                  <a:lnTo>
                    <a:pt x="328" y="95"/>
                  </a:lnTo>
                  <a:lnTo>
                    <a:pt x="344" y="91"/>
                  </a:lnTo>
                  <a:lnTo>
                    <a:pt x="361" y="89"/>
                  </a:lnTo>
                  <a:lnTo>
                    <a:pt x="379" y="88"/>
                  </a:lnTo>
                  <a:lnTo>
                    <a:pt x="391" y="89"/>
                  </a:lnTo>
                  <a:lnTo>
                    <a:pt x="402" y="90"/>
                  </a:lnTo>
                  <a:lnTo>
                    <a:pt x="412" y="91"/>
                  </a:lnTo>
                  <a:lnTo>
                    <a:pt x="422" y="93"/>
                  </a:lnTo>
                  <a:lnTo>
                    <a:pt x="431" y="96"/>
                  </a:lnTo>
                  <a:lnTo>
                    <a:pt x="440" y="99"/>
                  </a:lnTo>
                  <a:lnTo>
                    <a:pt x="448" y="103"/>
                  </a:lnTo>
                  <a:lnTo>
                    <a:pt x="456" y="107"/>
                  </a:lnTo>
                  <a:lnTo>
                    <a:pt x="463" y="112"/>
                  </a:lnTo>
                  <a:lnTo>
                    <a:pt x="469" y="117"/>
                  </a:lnTo>
                  <a:lnTo>
                    <a:pt x="476" y="123"/>
                  </a:lnTo>
                  <a:lnTo>
                    <a:pt x="481" y="129"/>
                  </a:lnTo>
                  <a:lnTo>
                    <a:pt x="486" y="135"/>
                  </a:lnTo>
                  <a:lnTo>
                    <a:pt x="492" y="142"/>
                  </a:lnTo>
                  <a:lnTo>
                    <a:pt x="497" y="149"/>
                  </a:lnTo>
                  <a:lnTo>
                    <a:pt x="500" y="157"/>
                  </a:lnTo>
                  <a:lnTo>
                    <a:pt x="507" y="173"/>
                  </a:lnTo>
                  <a:lnTo>
                    <a:pt x="513" y="190"/>
                  </a:lnTo>
                  <a:lnTo>
                    <a:pt x="517" y="207"/>
                  </a:lnTo>
                  <a:lnTo>
                    <a:pt x="520" y="225"/>
                  </a:lnTo>
                  <a:lnTo>
                    <a:pt x="522" y="243"/>
                  </a:lnTo>
                  <a:lnTo>
                    <a:pt x="524" y="262"/>
                  </a:lnTo>
                  <a:lnTo>
                    <a:pt x="524" y="280"/>
                  </a:lnTo>
                  <a:lnTo>
                    <a:pt x="525" y="298"/>
                  </a:lnTo>
                  <a:close/>
                  <a:moveTo>
                    <a:pt x="653" y="274"/>
                  </a:moveTo>
                  <a:lnTo>
                    <a:pt x="652" y="245"/>
                  </a:lnTo>
                  <a:lnTo>
                    <a:pt x="649" y="216"/>
                  </a:lnTo>
                  <a:lnTo>
                    <a:pt x="647" y="203"/>
                  </a:lnTo>
                  <a:lnTo>
                    <a:pt x="645" y="189"/>
                  </a:lnTo>
                  <a:lnTo>
                    <a:pt x="641" y="176"/>
                  </a:lnTo>
                  <a:lnTo>
                    <a:pt x="638" y="164"/>
                  </a:lnTo>
                  <a:lnTo>
                    <a:pt x="634" y="150"/>
                  </a:lnTo>
                  <a:lnTo>
                    <a:pt x="629" y="139"/>
                  </a:lnTo>
                  <a:lnTo>
                    <a:pt x="624" y="127"/>
                  </a:lnTo>
                  <a:lnTo>
                    <a:pt x="618" y="116"/>
                  </a:lnTo>
                  <a:lnTo>
                    <a:pt x="612" y="105"/>
                  </a:lnTo>
                  <a:lnTo>
                    <a:pt x="606" y="95"/>
                  </a:lnTo>
                  <a:lnTo>
                    <a:pt x="599" y="86"/>
                  </a:lnTo>
                  <a:lnTo>
                    <a:pt x="591" y="76"/>
                  </a:lnTo>
                  <a:lnTo>
                    <a:pt x="583" y="67"/>
                  </a:lnTo>
                  <a:lnTo>
                    <a:pt x="574" y="59"/>
                  </a:lnTo>
                  <a:lnTo>
                    <a:pt x="565" y="51"/>
                  </a:lnTo>
                  <a:lnTo>
                    <a:pt x="555" y="44"/>
                  </a:lnTo>
                  <a:lnTo>
                    <a:pt x="545" y="37"/>
                  </a:lnTo>
                  <a:lnTo>
                    <a:pt x="534" y="31"/>
                  </a:lnTo>
                  <a:lnTo>
                    <a:pt x="523" y="25"/>
                  </a:lnTo>
                  <a:lnTo>
                    <a:pt x="511" y="20"/>
                  </a:lnTo>
                  <a:lnTo>
                    <a:pt x="498" y="15"/>
                  </a:lnTo>
                  <a:lnTo>
                    <a:pt x="484" y="11"/>
                  </a:lnTo>
                  <a:lnTo>
                    <a:pt x="471" y="8"/>
                  </a:lnTo>
                  <a:lnTo>
                    <a:pt x="457" y="5"/>
                  </a:lnTo>
                  <a:lnTo>
                    <a:pt x="442" y="3"/>
                  </a:lnTo>
                  <a:lnTo>
                    <a:pt x="427" y="1"/>
                  </a:lnTo>
                  <a:lnTo>
                    <a:pt x="411" y="0"/>
                  </a:lnTo>
                  <a:lnTo>
                    <a:pt x="395" y="0"/>
                  </a:lnTo>
                  <a:lnTo>
                    <a:pt x="369" y="1"/>
                  </a:lnTo>
                  <a:lnTo>
                    <a:pt x="344" y="3"/>
                  </a:lnTo>
                  <a:lnTo>
                    <a:pt x="320" y="7"/>
                  </a:lnTo>
                  <a:lnTo>
                    <a:pt x="297" y="12"/>
                  </a:lnTo>
                  <a:lnTo>
                    <a:pt x="275" y="19"/>
                  </a:lnTo>
                  <a:lnTo>
                    <a:pt x="254" y="27"/>
                  </a:lnTo>
                  <a:lnTo>
                    <a:pt x="234" y="36"/>
                  </a:lnTo>
                  <a:lnTo>
                    <a:pt x="215" y="46"/>
                  </a:lnTo>
                  <a:lnTo>
                    <a:pt x="195" y="58"/>
                  </a:lnTo>
                  <a:lnTo>
                    <a:pt x="178" y="71"/>
                  </a:lnTo>
                  <a:lnTo>
                    <a:pt x="161" y="85"/>
                  </a:lnTo>
                  <a:lnTo>
                    <a:pt x="146" y="99"/>
                  </a:lnTo>
                  <a:lnTo>
                    <a:pt x="131" y="115"/>
                  </a:lnTo>
                  <a:lnTo>
                    <a:pt x="117" y="132"/>
                  </a:lnTo>
                  <a:lnTo>
                    <a:pt x="104" y="149"/>
                  </a:lnTo>
                  <a:lnTo>
                    <a:pt x="92" y="169"/>
                  </a:lnTo>
                  <a:lnTo>
                    <a:pt x="80" y="188"/>
                  </a:lnTo>
                  <a:lnTo>
                    <a:pt x="70" y="207"/>
                  </a:lnTo>
                  <a:lnTo>
                    <a:pt x="60" y="228"/>
                  </a:lnTo>
                  <a:lnTo>
                    <a:pt x="51" y="249"/>
                  </a:lnTo>
                  <a:lnTo>
                    <a:pt x="42" y="270"/>
                  </a:lnTo>
                  <a:lnTo>
                    <a:pt x="35" y="292"/>
                  </a:lnTo>
                  <a:lnTo>
                    <a:pt x="28" y="314"/>
                  </a:lnTo>
                  <a:lnTo>
                    <a:pt x="22" y="337"/>
                  </a:lnTo>
                  <a:lnTo>
                    <a:pt x="17" y="359"/>
                  </a:lnTo>
                  <a:lnTo>
                    <a:pt x="12" y="383"/>
                  </a:lnTo>
                  <a:lnTo>
                    <a:pt x="9" y="406"/>
                  </a:lnTo>
                  <a:lnTo>
                    <a:pt x="6" y="429"/>
                  </a:lnTo>
                  <a:lnTo>
                    <a:pt x="3" y="454"/>
                  </a:lnTo>
                  <a:lnTo>
                    <a:pt x="2" y="477"/>
                  </a:lnTo>
                  <a:lnTo>
                    <a:pt x="1" y="501"/>
                  </a:lnTo>
                  <a:lnTo>
                    <a:pt x="0" y="524"/>
                  </a:lnTo>
                  <a:lnTo>
                    <a:pt x="0" y="540"/>
                  </a:lnTo>
                  <a:lnTo>
                    <a:pt x="1" y="555"/>
                  </a:lnTo>
                  <a:lnTo>
                    <a:pt x="2" y="570"/>
                  </a:lnTo>
                  <a:lnTo>
                    <a:pt x="4" y="585"/>
                  </a:lnTo>
                  <a:lnTo>
                    <a:pt x="7" y="599"/>
                  </a:lnTo>
                  <a:lnTo>
                    <a:pt x="9" y="613"/>
                  </a:lnTo>
                  <a:lnTo>
                    <a:pt x="13" y="626"/>
                  </a:lnTo>
                  <a:lnTo>
                    <a:pt x="17" y="639"/>
                  </a:lnTo>
                  <a:lnTo>
                    <a:pt x="21" y="652"/>
                  </a:lnTo>
                  <a:lnTo>
                    <a:pt x="26" y="664"/>
                  </a:lnTo>
                  <a:lnTo>
                    <a:pt x="32" y="676"/>
                  </a:lnTo>
                  <a:lnTo>
                    <a:pt x="37" y="687"/>
                  </a:lnTo>
                  <a:lnTo>
                    <a:pt x="44" y="698"/>
                  </a:lnTo>
                  <a:lnTo>
                    <a:pt x="51" y="709"/>
                  </a:lnTo>
                  <a:lnTo>
                    <a:pt x="58" y="720"/>
                  </a:lnTo>
                  <a:lnTo>
                    <a:pt x="67" y="729"/>
                  </a:lnTo>
                  <a:lnTo>
                    <a:pt x="75" y="738"/>
                  </a:lnTo>
                  <a:lnTo>
                    <a:pt x="84" y="747"/>
                  </a:lnTo>
                  <a:lnTo>
                    <a:pt x="94" y="755"/>
                  </a:lnTo>
                  <a:lnTo>
                    <a:pt x="104" y="762"/>
                  </a:lnTo>
                  <a:lnTo>
                    <a:pt x="114" y="769"/>
                  </a:lnTo>
                  <a:lnTo>
                    <a:pt x="126" y="775"/>
                  </a:lnTo>
                  <a:lnTo>
                    <a:pt x="137" y="781"/>
                  </a:lnTo>
                  <a:lnTo>
                    <a:pt x="149" y="786"/>
                  </a:lnTo>
                  <a:lnTo>
                    <a:pt x="162" y="791"/>
                  </a:lnTo>
                  <a:lnTo>
                    <a:pt x="175" y="795"/>
                  </a:lnTo>
                  <a:lnTo>
                    <a:pt x="189" y="799"/>
                  </a:lnTo>
                  <a:lnTo>
                    <a:pt x="203" y="801"/>
                  </a:lnTo>
                  <a:lnTo>
                    <a:pt x="219" y="804"/>
                  </a:lnTo>
                  <a:lnTo>
                    <a:pt x="234" y="805"/>
                  </a:lnTo>
                  <a:lnTo>
                    <a:pt x="250" y="806"/>
                  </a:lnTo>
                  <a:lnTo>
                    <a:pt x="266" y="806"/>
                  </a:lnTo>
                  <a:lnTo>
                    <a:pt x="293" y="806"/>
                  </a:lnTo>
                  <a:lnTo>
                    <a:pt x="318" y="803"/>
                  </a:lnTo>
                  <a:lnTo>
                    <a:pt x="343" y="799"/>
                  </a:lnTo>
                  <a:lnTo>
                    <a:pt x="366" y="794"/>
                  </a:lnTo>
                  <a:lnTo>
                    <a:pt x="388" y="787"/>
                  </a:lnTo>
                  <a:lnTo>
                    <a:pt x="409" y="779"/>
                  </a:lnTo>
                  <a:lnTo>
                    <a:pt x="430" y="769"/>
                  </a:lnTo>
                  <a:lnTo>
                    <a:pt x="449" y="759"/>
                  </a:lnTo>
                  <a:lnTo>
                    <a:pt x="467" y="747"/>
                  </a:lnTo>
                  <a:lnTo>
                    <a:pt x="484" y="734"/>
                  </a:lnTo>
                  <a:lnTo>
                    <a:pt x="501" y="720"/>
                  </a:lnTo>
                  <a:lnTo>
                    <a:pt x="517" y="703"/>
                  </a:lnTo>
                  <a:lnTo>
                    <a:pt x="531" y="687"/>
                  </a:lnTo>
                  <a:lnTo>
                    <a:pt x="544" y="670"/>
                  </a:lnTo>
                  <a:lnTo>
                    <a:pt x="557" y="652"/>
                  </a:lnTo>
                  <a:lnTo>
                    <a:pt x="569" y="634"/>
                  </a:lnTo>
                  <a:lnTo>
                    <a:pt x="580" y="614"/>
                  </a:lnTo>
                  <a:lnTo>
                    <a:pt x="590" y="594"/>
                  </a:lnTo>
                  <a:lnTo>
                    <a:pt x="599" y="574"/>
                  </a:lnTo>
                  <a:lnTo>
                    <a:pt x="607" y="552"/>
                  </a:lnTo>
                  <a:lnTo>
                    <a:pt x="615" y="531"/>
                  </a:lnTo>
                  <a:lnTo>
                    <a:pt x="622" y="509"/>
                  </a:lnTo>
                  <a:lnTo>
                    <a:pt x="628" y="486"/>
                  </a:lnTo>
                  <a:lnTo>
                    <a:pt x="634" y="463"/>
                  </a:lnTo>
                  <a:lnTo>
                    <a:pt x="638" y="440"/>
                  </a:lnTo>
                  <a:lnTo>
                    <a:pt x="642" y="416"/>
                  </a:lnTo>
                  <a:lnTo>
                    <a:pt x="646" y="392"/>
                  </a:lnTo>
                  <a:lnTo>
                    <a:pt x="648" y="368"/>
                  </a:lnTo>
                  <a:lnTo>
                    <a:pt x="650" y="345"/>
                  </a:lnTo>
                  <a:lnTo>
                    <a:pt x="652" y="321"/>
                  </a:lnTo>
                  <a:lnTo>
                    <a:pt x="653" y="298"/>
                  </a:lnTo>
                  <a:lnTo>
                    <a:pt x="653" y="27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  <a:cs typeface="+mn-cs"/>
              </a:endParaRPr>
            </a:p>
          </p:txBody>
        </p:sp>
        <p:sp>
          <p:nvSpPr>
            <p:cNvPr id="27" name="Freeform 23"/>
            <p:cNvSpPr>
              <a:spLocks/>
            </p:cNvSpPr>
            <p:nvPr/>
          </p:nvSpPr>
          <p:spPr bwMode="gray">
            <a:xfrm>
              <a:off x="1795463" y="3751263"/>
              <a:ext cx="109537" cy="169862"/>
            </a:xfrm>
            <a:custGeom>
              <a:avLst/>
              <a:gdLst/>
              <a:ahLst/>
              <a:cxnLst>
                <a:cxn ang="0">
                  <a:pos x="501" y="120"/>
                </a:cxn>
                <a:cxn ang="0">
                  <a:pos x="479" y="121"/>
                </a:cxn>
                <a:cxn ang="0">
                  <a:pos x="459" y="123"/>
                </a:cxn>
                <a:cxn ang="0">
                  <a:pos x="439" y="125"/>
                </a:cxn>
                <a:cxn ang="0">
                  <a:pos x="421" y="129"/>
                </a:cxn>
                <a:cxn ang="0">
                  <a:pos x="403" y="134"/>
                </a:cxn>
                <a:cxn ang="0">
                  <a:pos x="386" y="139"/>
                </a:cxn>
                <a:cxn ang="0">
                  <a:pos x="370" y="146"/>
                </a:cxn>
                <a:cxn ang="0">
                  <a:pos x="355" y="153"/>
                </a:cxn>
                <a:cxn ang="0">
                  <a:pos x="340" y="163"/>
                </a:cxn>
                <a:cxn ang="0">
                  <a:pos x="326" y="172"/>
                </a:cxn>
                <a:cxn ang="0">
                  <a:pos x="313" y="182"/>
                </a:cxn>
                <a:cxn ang="0">
                  <a:pos x="301" y="192"/>
                </a:cxn>
                <a:cxn ang="0">
                  <a:pos x="290" y="203"/>
                </a:cxn>
                <a:cxn ang="0">
                  <a:pos x="279" y="215"/>
                </a:cxn>
                <a:cxn ang="0">
                  <a:pos x="269" y="228"/>
                </a:cxn>
                <a:cxn ang="0">
                  <a:pos x="260" y="241"/>
                </a:cxn>
                <a:cxn ang="0">
                  <a:pos x="251" y="255"/>
                </a:cxn>
                <a:cxn ang="0">
                  <a:pos x="242" y="269"/>
                </a:cxn>
                <a:cxn ang="0">
                  <a:pos x="234" y="283"/>
                </a:cxn>
                <a:cxn ang="0">
                  <a:pos x="227" y="298"/>
                </a:cxn>
                <a:cxn ang="0">
                  <a:pos x="220" y="314"/>
                </a:cxn>
                <a:cxn ang="0">
                  <a:pos x="214" y="330"/>
                </a:cxn>
                <a:cxn ang="0">
                  <a:pos x="208" y="346"/>
                </a:cxn>
                <a:cxn ang="0">
                  <a:pos x="202" y="362"/>
                </a:cxn>
                <a:cxn ang="0">
                  <a:pos x="192" y="396"/>
                </a:cxn>
                <a:cxn ang="0">
                  <a:pos x="184" y="430"/>
                </a:cxn>
                <a:cxn ang="0">
                  <a:pos x="177" y="465"/>
                </a:cxn>
                <a:cxn ang="0">
                  <a:pos x="170" y="500"/>
                </a:cxn>
                <a:cxn ang="0">
                  <a:pos x="114" y="790"/>
                </a:cxn>
                <a:cxn ang="0">
                  <a:pos x="0" y="790"/>
                </a:cxn>
                <a:cxn ang="0">
                  <a:pos x="146" y="16"/>
                </a:cxn>
                <a:cxn ang="0">
                  <a:pos x="259" y="16"/>
                </a:cxn>
                <a:cxn ang="0">
                  <a:pos x="234" y="170"/>
                </a:cxn>
                <a:cxn ang="0">
                  <a:pos x="245" y="147"/>
                </a:cxn>
                <a:cxn ang="0">
                  <a:pos x="257" y="127"/>
                </a:cxn>
                <a:cxn ang="0">
                  <a:pos x="270" y="108"/>
                </a:cxn>
                <a:cxn ang="0">
                  <a:pos x="284" y="91"/>
                </a:cxn>
                <a:cxn ang="0">
                  <a:pos x="299" y="76"/>
                </a:cxn>
                <a:cxn ang="0">
                  <a:pos x="314" y="62"/>
                </a:cxn>
                <a:cxn ang="0">
                  <a:pos x="331" y="50"/>
                </a:cxn>
                <a:cxn ang="0">
                  <a:pos x="349" y="39"/>
                </a:cxn>
                <a:cxn ang="0">
                  <a:pos x="367" y="30"/>
                </a:cxn>
                <a:cxn ang="0">
                  <a:pos x="386" y="22"/>
                </a:cxn>
                <a:cxn ang="0">
                  <a:pos x="406" y="15"/>
                </a:cxn>
                <a:cxn ang="0">
                  <a:pos x="426" y="9"/>
                </a:cxn>
                <a:cxn ang="0">
                  <a:pos x="448" y="5"/>
                </a:cxn>
                <a:cxn ang="0">
                  <a:pos x="470" y="2"/>
                </a:cxn>
                <a:cxn ang="0">
                  <a:pos x="493" y="0"/>
                </a:cxn>
                <a:cxn ang="0">
                  <a:pos x="517" y="0"/>
                </a:cxn>
                <a:cxn ang="0">
                  <a:pos x="501" y="120"/>
                </a:cxn>
              </a:cxnLst>
              <a:rect l="0" t="0" r="r" b="b"/>
              <a:pathLst>
                <a:path w="517" h="790">
                  <a:moveTo>
                    <a:pt x="501" y="120"/>
                  </a:moveTo>
                  <a:lnTo>
                    <a:pt x="479" y="121"/>
                  </a:lnTo>
                  <a:lnTo>
                    <a:pt x="459" y="123"/>
                  </a:lnTo>
                  <a:lnTo>
                    <a:pt x="439" y="125"/>
                  </a:lnTo>
                  <a:lnTo>
                    <a:pt x="421" y="129"/>
                  </a:lnTo>
                  <a:lnTo>
                    <a:pt x="403" y="134"/>
                  </a:lnTo>
                  <a:lnTo>
                    <a:pt x="386" y="139"/>
                  </a:lnTo>
                  <a:lnTo>
                    <a:pt x="370" y="146"/>
                  </a:lnTo>
                  <a:lnTo>
                    <a:pt x="355" y="153"/>
                  </a:lnTo>
                  <a:lnTo>
                    <a:pt x="340" y="163"/>
                  </a:lnTo>
                  <a:lnTo>
                    <a:pt x="326" y="172"/>
                  </a:lnTo>
                  <a:lnTo>
                    <a:pt x="313" y="182"/>
                  </a:lnTo>
                  <a:lnTo>
                    <a:pt x="301" y="192"/>
                  </a:lnTo>
                  <a:lnTo>
                    <a:pt x="290" y="203"/>
                  </a:lnTo>
                  <a:lnTo>
                    <a:pt x="279" y="215"/>
                  </a:lnTo>
                  <a:lnTo>
                    <a:pt x="269" y="228"/>
                  </a:lnTo>
                  <a:lnTo>
                    <a:pt x="260" y="241"/>
                  </a:lnTo>
                  <a:lnTo>
                    <a:pt x="251" y="255"/>
                  </a:lnTo>
                  <a:lnTo>
                    <a:pt x="242" y="269"/>
                  </a:lnTo>
                  <a:lnTo>
                    <a:pt x="234" y="283"/>
                  </a:lnTo>
                  <a:lnTo>
                    <a:pt x="227" y="298"/>
                  </a:lnTo>
                  <a:lnTo>
                    <a:pt x="220" y="314"/>
                  </a:lnTo>
                  <a:lnTo>
                    <a:pt x="214" y="330"/>
                  </a:lnTo>
                  <a:lnTo>
                    <a:pt x="208" y="346"/>
                  </a:lnTo>
                  <a:lnTo>
                    <a:pt x="202" y="362"/>
                  </a:lnTo>
                  <a:lnTo>
                    <a:pt x="192" y="396"/>
                  </a:lnTo>
                  <a:lnTo>
                    <a:pt x="184" y="430"/>
                  </a:lnTo>
                  <a:lnTo>
                    <a:pt x="177" y="465"/>
                  </a:lnTo>
                  <a:lnTo>
                    <a:pt x="170" y="500"/>
                  </a:lnTo>
                  <a:lnTo>
                    <a:pt x="114" y="790"/>
                  </a:lnTo>
                  <a:lnTo>
                    <a:pt x="0" y="790"/>
                  </a:lnTo>
                  <a:lnTo>
                    <a:pt x="146" y="16"/>
                  </a:lnTo>
                  <a:lnTo>
                    <a:pt x="259" y="16"/>
                  </a:lnTo>
                  <a:lnTo>
                    <a:pt x="234" y="170"/>
                  </a:lnTo>
                  <a:lnTo>
                    <a:pt x="245" y="147"/>
                  </a:lnTo>
                  <a:lnTo>
                    <a:pt x="257" y="127"/>
                  </a:lnTo>
                  <a:lnTo>
                    <a:pt x="270" y="108"/>
                  </a:lnTo>
                  <a:lnTo>
                    <a:pt x="284" y="91"/>
                  </a:lnTo>
                  <a:lnTo>
                    <a:pt x="299" y="76"/>
                  </a:lnTo>
                  <a:lnTo>
                    <a:pt x="314" y="62"/>
                  </a:lnTo>
                  <a:lnTo>
                    <a:pt x="331" y="50"/>
                  </a:lnTo>
                  <a:lnTo>
                    <a:pt x="349" y="39"/>
                  </a:lnTo>
                  <a:lnTo>
                    <a:pt x="367" y="30"/>
                  </a:lnTo>
                  <a:lnTo>
                    <a:pt x="386" y="22"/>
                  </a:lnTo>
                  <a:lnTo>
                    <a:pt x="406" y="15"/>
                  </a:lnTo>
                  <a:lnTo>
                    <a:pt x="426" y="9"/>
                  </a:lnTo>
                  <a:lnTo>
                    <a:pt x="448" y="5"/>
                  </a:lnTo>
                  <a:lnTo>
                    <a:pt x="470" y="2"/>
                  </a:lnTo>
                  <a:lnTo>
                    <a:pt x="493" y="0"/>
                  </a:lnTo>
                  <a:lnTo>
                    <a:pt x="517" y="0"/>
                  </a:lnTo>
                  <a:lnTo>
                    <a:pt x="501" y="1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  <a:cs typeface="+mn-cs"/>
              </a:endParaRPr>
            </a:p>
          </p:txBody>
        </p:sp>
        <p:sp>
          <p:nvSpPr>
            <p:cNvPr id="28" name="Freeform 24"/>
            <p:cNvSpPr>
              <a:spLocks/>
            </p:cNvSpPr>
            <p:nvPr/>
          </p:nvSpPr>
          <p:spPr bwMode="gray">
            <a:xfrm>
              <a:off x="1895475" y="3751263"/>
              <a:ext cx="227013" cy="169862"/>
            </a:xfrm>
            <a:custGeom>
              <a:avLst/>
              <a:gdLst/>
              <a:ahLst/>
              <a:cxnLst>
                <a:cxn ang="0">
                  <a:pos x="831" y="790"/>
                </a:cxn>
                <a:cxn ang="0">
                  <a:pos x="931" y="263"/>
                </a:cxn>
                <a:cxn ang="0">
                  <a:pos x="935" y="217"/>
                </a:cxn>
                <a:cxn ang="0">
                  <a:pos x="934" y="184"/>
                </a:cxn>
                <a:cxn ang="0">
                  <a:pos x="927" y="157"/>
                </a:cxn>
                <a:cxn ang="0">
                  <a:pos x="914" y="134"/>
                </a:cxn>
                <a:cxn ang="0">
                  <a:pos x="895" y="117"/>
                </a:cxn>
                <a:cxn ang="0">
                  <a:pos x="873" y="106"/>
                </a:cxn>
                <a:cxn ang="0">
                  <a:pos x="840" y="105"/>
                </a:cxn>
                <a:cxn ang="0">
                  <a:pos x="796" y="117"/>
                </a:cxn>
                <a:cxn ang="0">
                  <a:pos x="757" y="141"/>
                </a:cxn>
                <a:cxn ang="0">
                  <a:pos x="722" y="176"/>
                </a:cxn>
                <a:cxn ang="0">
                  <a:pos x="690" y="218"/>
                </a:cxn>
                <a:cxn ang="0">
                  <a:pos x="663" y="266"/>
                </a:cxn>
                <a:cxn ang="0">
                  <a:pos x="621" y="369"/>
                </a:cxn>
                <a:cxn ang="0">
                  <a:pos x="593" y="469"/>
                </a:cxn>
                <a:cxn ang="0">
                  <a:pos x="533" y="790"/>
                </a:cxn>
                <a:cxn ang="0">
                  <a:pos x="515" y="299"/>
                </a:cxn>
                <a:cxn ang="0">
                  <a:pos x="523" y="233"/>
                </a:cxn>
                <a:cxn ang="0">
                  <a:pos x="524" y="193"/>
                </a:cxn>
                <a:cxn ang="0">
                  <a:pos x="519" y="166"/>
                </a:cxn>
                <a:cxn ang="0">
                  <a:pos x="507" y="142"/>
                </a:cxn>
                <a:cxn ang="0">
                  <a:pos x="489" y="122"/>
                </a:cxn>
                <a:cxn ang="0">
                  <a:pos x="465" y="109"/>
                </a:cxn>
                <a:cxn ang="0">
                  <a:pos x="436" y="104"/>
                </a:cxn>
                <a:cxn ang="0">
                  <a:pos x="392" y="112"/>
                </a:cxn>
                <a:cxn ang="0">
                  <a:pos x="353" y="132"/>
                </a:cxn>
                <a:cxn ang="0">
                  <a:pos x="318" y="164"/>
                </a:cxn>
                <a:cxn ang="0">
                  <a:pos x="287" y="204"/>
                </a:cxn>
                <a:cxn ang="0">
                  <a:pos x="260" y="250"/>
                </a:cxn>
                <a:cxn ang="0">
                  <a:pos x="222" y="335"/>
                </a:cxn>
                <a:cxn ang="0">
                  <a:pos x="190" y="437"/>
                </a:cxn>
                <a:cxn ang="0">
                  <a:pos x="170" y="524"/>
                </a:cxn>
                <a:cxn ang="0">
                  <a:pos x="154" y="16"/>
                </a:cxn>
                <a:cxn ang="0">
                  <a:pos x="235" y="178"/>
                </a:cxn>
                <a:cxn ang="0">
                  <a:pos x="271" y="122"/>
                </a:cxn>
                <a:cxn ang="0">
                  <a:pos x="310" y="75"/>
                </a:cxn>
                <a:cxn ang="0">
                  <a:pos x="354" y="38"/>
                </a:cxn>
                <a:cxn ang="0">
                  <a:pos x="406" y="13"/>
                </a:cxn>
                <a:cxn ang="0">
                  <a:pos x="469" y="1"/>
                </a:cxn>
                <a:cxn ang="0">
                  <a:pos x="529" y="3"/>
                </a:cxn>
                <a:cxn ang="0">
                  <a:pos x="572" y="21"/>
                </a:cxn>
                <a:cxn ang="0">
                  <a:pos x="604" y="51"/>
                </a:cxn>
                <a:cxn ang="0">
                  <a:pos x="625" y="90"/>
                </a:cxn>
                <a:cxn ang="0">
                  <a:pos x="635" y="136"/>
                </a:cxn>
                <a:cxn ang="0">
                  <a:pos x="645" y="170"/>
                </a:cxn>
                <a:cxn ang="0">
                  <a:pos x="682" y="117"/>
                </a:cxn>
                <a:cxn ang="0">
                  <a:pos x="722" y="73"/>
                </a:cxn>
                <a:cxn ang="0">
                  <a:pos x="768" y="37"/>
                </a:cxn>
                <a:cxn ang="0">
                  <a:pos x="822" y="13"/>
                </a:cxn>
                <a:cxn ang="0">
                  <a:pos x="887" y="1"/>
                </a:cxn>
                <a:cxn ang="0">
                  <a:pos x="943" y="3"/>
                </a:cxn>
                <a:cxn ang="0">
                  <a:pos x="985" y="19"/>
                </a:cxn>
                <a:cxn ang="0">
                  <a:pos x="1018" y="47"/>
                </a:cxn>
                <a:cxn ang="0">
                  <a:pos x="1041" y="84"/>
                </a:cxn>
                <a:cxn ang="0">
                  <a:pos x="1055" y="128"/>
                </a:cxn>
                <a:cxn ang="0">
                  <a:pos x="1057" y="179"/>
                </a:cxn>
                <a:cxn ang="0">
                  <a:pos x="1052" y="229"/>
                </a:cxn>
              </a:cxnLst>
              <a:rect l="0" t="0" r="r" b="b"/>
              <a:pathLst>
                <a:path w="1057" h="790">
                  <a:moveTo>
                    <a:pt x="1041" y="290"/>
                  </a:moveTo>
                  <a:lnTo>
                    <a:pt x="944" y="790"/>
                  </a:lnTo>
                  <a:lnTo>
                    <a:pt x="831" y="790"/>
                  </a:lnTo>
                  <a:lnTo>
                    <a:pt x="920" y="330"/>
                  </a:lnTo>
                  <a:lnTo>
                    <a:pt x="925" y="296"/>
                  </a:lnTo>
                  <a:lnTo>
                    <a:pt x="931" y="263"/>
                  </a:lnTo>
                  <a:lnTo>
                    <a:pt x="933" y="247"/>
                  </a:lnTo>
                  <a:lnTo>
                    <a:pt x="934" y="232"/>
                  </a:lnTo>
                  <a:lnTo>
                    <a:pt x="935" y="217"/>
                  </a:lnTo>
                  <a:lnTo>
                    <a:pt x="936" y="202"/>
                  </a:lnTo>
                  <a:lnTo>
                    <a:pt x="935" y="193"/>
                  </a:lnTo>
                  <a:lnTo>
                    <a:pt x="934" y="184"/>
                  </a:lnTo>
                  <a:lnTo>
                    <a:pt x="932" y="175"/>
                  </a:lnTo>
                  <a:lnTo>
                    <a:pt x="930" y="166"/>
                  </a:lnTo>
                  <a:lnTo>
                    <a:pt x="927" y="157"/>
                  </a:lnTo>
                  <a:lnTo>
                    <a:pt x="923" y="149"/>
                  </a:lnTo>
                  <a:lnTo>
                    <a:pt x="919" y="142"/>
                  </a:lnTo>
                  <a:lnTo>
                    <a:pt x="914" y="134"/>
                  </a:lnTo>
                  <a:lnTo>
                    <a:pt x="908" y="128"/>
                  </a:lnTo>
                  <a:lnTo>
                    <a:pt x="902" y="122"/>
                  </a:lnTo>
                  <a:lnTo>
                    <a:pt x="895" y="117"/>
                  </a:lnTo>
                  <a:lnTo>
                    <a:pt x="888" y="113"/>
                  </a:lnTo>
                  <a:lnTo>
                    <a:pt x="881" y="109"/>
                  </a:lnTo>
                  <a:lnTo>
                    <a:pt x="873" y="106"/>
                  </a:lnTo>
                  <a:lnTo>
                    <a:pt x="864" y="105"/>
                  </a:lnTo>
                  <a:lnTo>
                    <a:pt x="855" y="104"/>
                  </a:lnTo>
                  <a:lnTo>
                    <a:pt x="840" y="105"/>
                  </a:lnTo>
                  <a:lnTo>
                    <a:pt x="825" y="108"/>
                  </a:lnTo>
                  <a:lnTo>
                    <a:pt x="810" y="112"/>
                  </a:lnTo>
                  <a:lnTo>
                    <a:pt x="796" y="117"/>
                  </a:lnTo>
                  <a:lnTo>
                    <a:pt x="782" y="124"/>
                  </a:lnTo>
                  <a:lnTo>
                    <a:pt x="769" y="132"/>
                  </a:lnTo>
                  <a:lnTo>
                    <a:pt x="757" y="141"/>
                  </a:lnTo>
                  <a:lnTo>
                    <a:pt x="745" y="152"/>
                  </a:lnTo>
                  <a:lnTo>
                    <a:pt x="733" y="164"/>
                  </a:lnTo>
                  <a:lnTo>
                    <a:pt x="722" y="176"/>
                  </a:lnTo>
                  <a:lnTo>
                    <a:pt x="711" y="190"/>
                  </a:lnTo>
                  <a:lnTo>
                    <a:pt x="700" y="204"/>
                  </a:lnTo>
                  <a:lnTo>
                    <a:pt x="690" y="218"/>
                  </a:lnTo>
                  <a:lnTo>
                    <a:pt x="681" y="234"/>
                  </a:lnTo>
                  <a:lnTo>
                    <a:pt x="672" y="250"/>
                  </a:lnTo>
                  <a:lnTo>
                    <a:pt x="663" y="266"/>
                  </a:lnTo>
                  <a:lnTo>
                    <a:pt x="648" y="300"/>
                  </a:lnTo>
                  <a:lnTo>
                    <a:pt x="634" y="335"/>
                  </a:lnTo>
                  <a:lnTo>
                    <a:pt x="621" y="369"/>
                  </a:lnTo>
                  <a:lnTo>
                    <a:pt x="610" y="404"/>
                  </a:lnTo>
                  <a:lnTo>
                    <a:pt x="601" y="437"/>
                  </a:lnTo>
                  <a:lnTo>
                    <a:pt x="593" y="469"/>
                  </a:lnTo>
                  <a:lnTo>
                    <a:pt x="586" y="498"/>
                  </a:lnTo>
                  <a:lnTo>
                    <a:pt x="581" y="524"/>
                  </a:lnTo>
                  <a:lnTo>
                    <a:pt x="533" y="790"/>
                  </a:lnTo>
                  <a:lnTo>
                    <a:pt x="419" y="790"/>
                  </a:lnTo>
                  <a:lnTo>
                    <a:pt x="509" y="330"/>
                  </a:lnTo>
                  <a:lnTo>
                    <a:pt x="515" y="299"/>
                  </a:lnTo>
                  <a:lnTo>
                    <a:pt x="520" y="266"/>
                  </a:lnTo>
                  <a:lnTo>
                    <a:pt x="522" y="250"/>
                  </a:lnTo>
                  <a:lnTo>
                    <a:pt x="523" y="233"/>
                  </a:lnTo>
                  <a:lnTo>
                    <a:pt x="524" y="217"/>
                  </a:lnTo>
                  <a:lnTo>
                    <a:pt x="525" y="202"/>
                  </a:lnTo>
                  <a:lnTo>
                    <a:pt x="524" y="193"/>
                  </a:lnTo>
                  <a:lnTo>
                    <a:pt x="523" y="184"/>
                  </a:lnTo>
                  <a:lnTo>
                    <a:pt x="521" y="175"/>
                  </a:lnTo>
                  <a:lnTo>
                    <a:pt x="519" y="166"/>
                  </a:lnTo>
                  <a:lnTo>
                    <a:pt x="516" y="157"/>
                  </a:lnTo>
                  <a:lnTo>
                    <a:pt x="512" y="149"/>
                  </a:lnTo>
                  <a:lnTo>
                    <a:pt x="507" y="142"/>
                  </a:lnTo>
                  <a:lnTo>
                    <a:pt x="502" y="134"/>
                  </a:lnTo>
                  <a:lnTo>
                    <a:pt x="496" y="128"/>
                  </a:lnTo>
                  <a:lnTo>
                    <a:pt x="489" y="122"/>
                  </a:lnTo>
                  <a:lnTo>
                    <a:pt x="482" y="117"/>
                  </a:lnTo>
                  <a:lnTo>
                    <a:pt x="474" y="113"/>
                  </a:lnTo>
                  <a:lnTo>
                    <a:pt x="465" y="109"/>
                  </a:lnTo>
                  <a:lnTo>
                    <a:pt x="456" y="106"/>
                  </a:lnTo>
                  <a:lnTo>
                    <a:pt x="447" y="105"/>
                  </a:lnTo>
                  <a:lnTo>
                    <a:pt x="436" y="104"/>
                  </a:lnTo>
                  <a:lnTo>
                    <a:pt x="421" y="105"/>
                  </a:lnTo>
                  <a:lnTo>
                    <a:pt x="406" y="108"/>
                  </a:lnTo>
                  <a:lnTo>
                    <a:pt x="392" y="112"/>
                  </a:lnTo>
                  <a:lnTo>
                    <a:pt x="379" y="117"/>
                  </a:lnTo>
                  <a:lnTo>
                    <a:pt x="366" y="124"/>
                  </a:lnTo>
                  <a:lnTo>
                    <a:pt x="353" y="132"/>
                  </a:lnTo>
                  <a:lnTo>
                    <a:pt x="341" y="141"/>
                  </a:lnTo>
                  <a:lnTo>
                    <a:pt x="330" y="152"/>
                  </a:lnTo>
                  <a:lnTo>
                    <a:pt x="318" y="164"/>
                  </a:lnTo>
                  <a:lnTo>
                    <a:pt x="308" y="176"/>
                  </a:lnTo>
                  <a:lnTo>
                    <a:pt x="297" y="190"/>
                  </a:lnTo>
                  <a:lnTo>
                    <a:pt x="287" y="204"/>
                  </a:lnTo>
                  <a:lnTo>
                    <a:pt x="278" y="218"/>
                  </a:lnTo>
                  <a:lnTo>
                    <a:pt x="269" y="234"/>
                  </a:lnTo>
                  <a:lnTo>
                    <a:pt x="260" y="250"/>
                  </a:lnTo>
                  <a:lnTo>
                    <a:pt x="252" y="266"/>
                  </a:lnTo>
                  <a:lnTo>
                    <a:pt x="236" y="300"/>
                  </a:lnTo>
                  <a:lnTo>
                    <a:pt x="222" y="335"/>
                  </a:lnTo>
                  <a:lnTo>
                    <a:pt x="210" y="369"/>
                  </a:lnTo>
                  <a:lnTo>
                    <a:pt x="199" y="404"/>
                  </a:lnTo>
                  <a:lnTo>
                    <a:pt x="190" y="437"/>
                  </a:lnTo>
                  <a:lnTo>
                    <a:pt x="182" y="469"/>
                  </a:lnTo>
                  <a:lnTo>
                    <a:pt x="175" y="498"/>
                  </a:lnTo>
                  <a:lnTo>
                    <a:pt x="170" y="524"/>
                  </a:lnTo>
                  <a:lnTo>
                    <a:pt x="113" y="790"/>
                  </a:lnTo>
                  <a:lnTo>
                    <a:pt x="0" y="790"/>
                  </a:lnTo>
                  <a:lnTo>
                    <a:pt x="154" y="16"/>
                  </a:lnTo>
                  <a:lnTo>
                    <a:pt x="267" y="16"/>
                  </a:lnTo>
                  <a:lnTo>
                    <a:pt x="235" y="170"/>
                  </a:lnTo>
                  <a:lnTo>
                    <a:pt x="235" y="178"/>
                  </a:lnTo>
                  <a:lnTo>
                    <a:pt x="247" y="157"/>
                  </a:lnTo>
                  <a:lnTo>
                    <a:pt x="259" y="139"/>
                  </a:lnTo>
                  <a:lnTo>
                    <a:pt x="271" y="122"/>
                  </a:lnTo>
                  <a:lnTo>
                    <a:pt x="284" y="105"/>
                  </a:lnTo>
                  <a:lnTo>
                    <a:pt x="297" y="89"/>
                  </a:lnTo>
                  <a:lnTo>
                    <a:pt x="310" y="75"/>
                  </a:lnTo>
                  <a:lnTo>
                    <a:pt x="324" y="61"/>
                  </a:lnTo>
                  <a:lnTo>
                    <a:pt x="339" y="49"/>
                  </a:lnTo>
                  <a:lnTo>
                    <a:pt x="354" y="38"/>
                  </a:lnTo>
                  <a:lnTo>
                    <a:pt x="371" y="28"/>
                  </a:lnTo>
                  <a:lnTo>
                    <a:pt x="388" y="20"/>
                  </a:lnTo>
                  <a:lnTo>
                    <a:pt x="406" y="13"/>
                  </a:lnTo>
                  <a:lnTo>
                    <a:pt x="426" y="7"/>
                  </a:lnTo>
                  <a:lnTo>
                    <a:pt x="447" y="3"/>
                  </a:lnTo>
                  <a:lnTo>
                    <a:pt x="469" y="1"/>
                  </a:lnTo>
                  <a:lnTo>
                    <a:pt x="493" y="0"/>
                  </a:lnTo>
                  <a:lnTo>
                    <a:pt x="511" y="1"/>
                  </a:lnTo>
                  <a:lnTo>
                    <a:pt x="529" y="3"/>
                  </a:lnTo>
                  <a:lnTo>
                    <a:pt x="545" y="8"/>
                  </a:lnTo>
                  <a:lnTo>
                    <a:pt x="559" y="14"/>
                  </a:lnTo>
                  <a:lnTo>
                    <a:pt x="572" y="21"/>
                  </a:lnTo>
                  <a:lnTo>
                    <a:pt x="584" y="30"/>
                  </a:lnTo>
                  <a:lnTo>
                    <a:pt x="595" y="40"/>
                  </a:lnTo>
                  <a:lnTo>
                    <a:pt x="604" y="51"/>
                  </a:lnTo>
                  <a:lnTo>
                    <a:pt x="612" y="63"/>
                  </a:lnTo>
                  <a:lnTo>
                    <a:pt x="619" y="76"/>
                  </a:lnTo>
                  <a:lnTo>
                    <a:pt x="625" y="90"/>
                  </a:lnTo>
                  <a:lnTo>
                    <a:pt x="629" y="105"/>
                  </a:lnTo>
                  <a:lnTo>
                    <a:pt x="633" y="120"/>
                  </a:lnTo>
                  <a:lnTo>
                    <a:pt x="635" y="136"/>
                  </a:lnTo>
                  <a:lnTo>
                    <a:pt x="637" y="152"/>
                  </a:lnTo>
                  <a:lnTo>
                    <a:pt x="637" y="170"/>
                  </a:lnTo>
                  <a:lnTo>
                    <a:pt x="645" y="170"/>
                  </a:lnTo>
                  <a:lnTo>
                    <a:pt x="657" y="151"/>
                  </a:lnTo>
                  <a:lnTo>
                    <a:pt x="670" y="134"/>
                  </a:lnTo>
                  <a:lnTo>
                    <a:pt x="682" y="117"/>
                  </a:lnTo>
                  <a:lnTo>
                    <a:pt x="695" y="102"/>
                  </a:lnTo>
                  <a:lnTo>
                    <a:pt x="709" y="87"/>
                  </a:lnTo>
                  <a:lnTo>
                    <a:pt x="722" y="73"/>
                  </a:lnTo>
                  <a:lnTo>
                    <a:pt x="737" y="60"/>
                  </a:lnTo>
                  <a:lnTo>
                    <a:pt x="752" y="48"/>
                  </a:lnTo>
                  <a:lnTo>
                    <a:pt x="768" y="37"/>
                  </a:lnTo>
                  <a:lnTo>
                    <a:pt x="785" y="28"/>
                  </a:lnTo>
                  <a:lnTo>
                    <a:pt x="802" y="20"/>
                  </a:lnTo>
                  <a:lnTo>
                    <a:pt x="822" y="13"/>
                  </a:lnTo>
                  <a:lnTo>
                    <a:pt x="842" y="7"/>
                  </a:lnTo>
                  <a:lnTo>
                    <a:pt x="864" y="3"/>
                  </a:lnTo>
                  <a:lnTo>
                    <a:pt x="887" y="1"/>
                  </a:lnTo>
                  <a:lnTo>
                    <a:pt x="912" y="0"/>
                  </a:lnTo>
                  <a:lnTo>
                    <a:pt x="928" y="1"/>
                  </a:lnTo>
                  <a:lnTo>
                    <a:pt x="943" y="3"/>
                  </a:lnTo>
                  <a:lnTo>
                    <a:pt x="958" y="7"/>
                  </a:lnTo>
                  <a:lnTo>
                    <a:pt x="971" y="13"/>
                  </a:lnTo>
                  <a:lnTo>
                    <a:pt x="985" y="19"/>
                  </a:lnTo>
                  <a:lnTo>
                    <a:pt x="997" y="27"/>
                  </a:lnTo>
                  <a:lnTo>
                    <a:pt x="1008" y="37"/>
                  </a:lnTo>
                  <a:lnTo>
                    <a:pt x="1018" y="47"/>
                  </a:lnTo>
                  <a:lnTo>
                    <a:pt x="1027" y="59"/>
                  </a:lnTo>
                  <a:lnTo>
                    <a:pt x="1035" y="71"/>
                  </a:lnTo>
                  <a:lnTo>
                    <a:pt x="1041" y="84"/>
                  </a:lnTo>
                  <a:lnTo>
                    <a:pt x="1047" y="98"/>
                  </a:lnTo>
                  <a:lnTo>
                    <a:pt x="1051" y="113"/>
                  </a:lnTo>
                  <a:lnTo>
                    <a:pt x="1055" y="128"/>
                  </a:lnTo>
                  <a:lnTo>
                    <a:pt x="1057" y="144"/>
                  </a:lnTo>
                  <a:lnTo>
                    <a:pt x="1057" y="162"/>
                  </a:lnTo>
                  <a:lnTo>
                    <a:pt x="1057" y="179"/>
                  </a:lnTo>
                  <a:lnTo>
                    <a:pt x="1056" y="196"/>
                  </a:lnTo>
                  <a:lnTo>
                    <a:pt x="1054" y="213"/>
                  </a:lnTo>
                  <a:lnTo>
                    <a:pt x="1052" y="229"/>
                  </a:lnTo>
                  <a:lnTo>
                    <a:pt x="1047" y="260"/>
                  </a:lnTo>
                  <a:lnTo>
                    <a:pt x="1041" y="29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  <a:cs typeface="+mn-cs"/>
              </a:endParaRPr>
            </a:p>
          </p:txBody>
        </p:sp>
        <p:sp>
          <p:nvSpPr>
            <p:cNvPr id="29" name="Freeform 25"/>
            <p:cNvSpPr>
              <a:spLocks noEditPoints="1"/>
            </p:cNvSpPr>
            <p:nvPr/>
          </p:nvSpPr>
          <p:spPr bwMode="gray">
            <a:xfrm>
              <a:off x="2141538" y="3751263"/>
              <a:ext cx="141287" cy="173037"/>
            </a:xfrm>
            <a:custGeom>
              <a:avLst/>
              <a:gdLst/>
              <a:ahLst/>
              <a:cxnLst>
                <a:cxn ang="0">
                  <a:pos x="481" y="355"/>
                </a:cxn>
                <a:cxn ang="0">
                  <a:pos x="464" y="455"/>
                </a:cxn>
                <a:cxn ang="0">
                  <a:pos x="443" y="523"/>
                </a:cxn>
                <a:cxn ang="0">
                  <a:pos x="423" y="571"/>
                </a:cxn>
                <a:cxn ang="0">
                  <a:pos x="399" y="615"/>
                </a:cxn>
                <a:cxn ang="0">
                  <a:pos x="368" y="653"/>
                </a:cxn>
                <a:cxn ang="0">
                  <a:pos x="334" y="683"/>
                </a:cxn>
                <a:cxn ang="0">
                  <a:pos x="294" y="702"/>
                </a:cxn>
                <a:cxn ang="0">
                  <a:pos x="250" y="709"/>
                </a:cxn>
                <a:cxn ang="0">
                  <a:pos x="221" y="706"/>
                </a:cxn>
                <a:cxn ang="0">
                  <a:pos x="197" y="699"/>
                </a:cxn>
                <a:cxn ang="0">
                  <a:pos x="177" y="687"/>
                </a:cxn>
                <a:cxn ang="0">
                  <a:pos x="162" y="672"/>
                </a:cxn>
                <a:cxn ang="0">
                  <a:pos x="142" y="633"/>
                </a:cxn>
                <a:cxn ang="0">
                  <a:pos x="132" y="587"/>
                </a:cxn>
                <a:cxn ang="0">
                  <a:pos x="130" y="498"/>
                </a:cxn>
                <a:cxn ang="0">
                  <a:pos x="140" y="401"/>
                </a:cxn>
                <a:cxn ang="0">
                  <a:pos x="165" y="293"/>
                </a:cxn>
                <a:cxn ang="0">
                  <a:pos x="191" y="224"/>
                </a:cxn>
                <a:cxn ang="0">
                  <a:pos x="215" y="178"/>
                </a:cxn>
                <a:cxn ang="0">
                  <a:pos x="244" y="138"/>
                </a:cxn>
                <a:cxn ang="0">
                  <a:pos x="278" y="109"/>
                </a:cxn>
                <a:cxn ang="0">
                  <a:pos x="317" y="92"/>
                </a:cxn>
                <a:cxn ang="0">
                  <a:pos x="356" y="89"/>
                </a:cxn>
                <a:cxn ang="0">
                  <a:pos x="382" y="94"/>
                </a:cxn>
                <a:cxn ang="0">
                  <a:pos x="406" y="104"/>
                </a:cxn>
                <a:cxn ang="0">
                  <a:pos x="425" y="119"/>
                </a:cxn>
                <a:cxn ang="0">
                  <a:pos x="446" y="145"/>
                </a:cxn>
                <a:cxn ang="0">
                  <a:pos x="468" y="193"/>
                </a:cxn>
                <a:cxn ang="0">
                  <a:pos x="480" y="246"/>
                </a:cxn>
                <a:cxn ang="0">
                  <a:pos x="484" y="298"/>
                </a:cxn>
                <a:cxn ang="0">
                  <a:pos x="524" y="136"/>
                </a:cxn>
                <a:cxn ang="0">
                  <a:pos x="505" y="94"/>
                </a:cxn>
                <a:cxn ang="0">
                  <a:pos x="478" y="58"/>
                </a:cxn>
                <a:cxn ang="0">
                  <a:pos x="443" y="30"/>
                </a:cxn>
                <a:cxn ang="0">
                  <a:pos x="402" y="10"/>
                </a:cxn>
                <a:cxn ang="0">
                  <a:pos x="354" y="1"/>
                </a:cxn>
                <a:cxn ang="0">
                  <a:pos x="295" y="4"/>
                </a:cxn>
                <a:cxn ang="0">
                  <a:pos x="235" y="23"/>
                </a:cxn>
                <a:cxn ang="0">
                  <a:pos x="184" y="56"/>
                </a:cxn>
                <a:cxn ang="0">
                  <a:pos x="139" y="100"/>
                </a:cxn>
                <a:cxn ang="0">
                  <a:pos x="100" y="154"/>
                </a:cxn>
                <a:cxn ang="0">
                  <a:pos x="68" y="216"/>
                </a:cxn>
                <a:cxn ang="0">
                  <a:pos x="43" y="281"/>
                </a:cxn>
                <a:cxn ang="0">
                  <a:pos x="24" y="348"/>
                </a:cxn>
                <a:cxn ang="0">
                  <a:pos x="10" y="415"/>
                </a:cxn>
                <a:cxn ang="0">
                  <a:pos x="2" y="481"/>
                </a:cxn>
                <a:cxn ang="0">
                  <a:pos x="0" y="540"/>
                </a:cxn>
                <a:cxn ang="0">
                  <a:pos x="6" y="613"/>
                </a:cxn>
                <a:cxn ang="0">
                  <a:pos x="25" y="681"/>
                </a:cxn>
                <a:cxn ang="0">
                  <a:pos x="41" y="712"/>
                </a:cxn>
                <a:cxn ang="0">
                  <a:pos x="60" y="740"/>
                </a:cxn>
                <a:cxn ang="0">
                  <a:pos x="84" y="764"/>
                </a:cxn>
                <a:cxn ang="0">
                  <a:pos x="111" y="783"/>
                </a:cxn>
                <a:cxn ang="0">
                  <a:pos x="145" y="797"/>
                </a:cxn>
                <a:cxn ang="0">
                  <a:pos x="182" y="805"/>
                </a:cxn>
                <a:cxn ang="0">
                  <a:pos x="229" y="806"/>
                </a:cxn>
                <a:cxn ang="0">
                  <a:pos x="279" y="796"/>
                </a:cxn>
                <a:cxn ang="0">
                  <a:pos x="322" y="776"/>
                </a:cxn>
                <a:cxn ang="0">
                  <a:pos x="359" y="747"/>
                </a:cxn>
                <a:cxn ang="0">
                  <a:pos x="390" y="707"/>
                </a:cxn>
                <a:cxn ang="0">
                  <a:pos x="419" y="661"/>
                </a:cxn>
                <a:cxn ang="0">
                  <a:pos x="516" y="790"/>
                </a:cxn>
              </a:cxnLst>
              <a:rect l="0" t="0" r="r" b="b"/>
              <a:pathLst>
                <a:path w="661" h="806">
                  <a:moveTo>
                    <a:pt x="484" y="298"/>
                  </a:moveTo>
                  <a:lnTo>
                    <a:pt x="483" y="325"/>
                  </a:lnTo>
                  <a:lnTo>
                    <a:pt x="481" y="355"/>
                  </a:lnTo>
                  <a:lnTo>
                    <a:pt x="477" y="387"/>
                  </a:lnTo>
                  <a:lnTo>
                    <a:pt x="471" y="420"/>
                  </a:lnTo>
                  <a:lnTo>
                    <a:pt x="464" y="455"/>
                  </a:lnTo>
                  <a:lnTo>
                    <a:pt x="454" y="489"/>
                  </a:lnTo>
                  <a:lnTo>
                    <a:pt x="449" y="506"/>
                  </a:lnTo>
                  <a:lnTo>
                    <a:pt x="443" y="523"/>
                  </a:lnTo>
                  <a:lnTo>
                    <a:pt x="437" y="539"/>
                  </a:lnTo>
                  <a:lnTo>
                    <a:pt x="431" y="555"/>
                  </a:lnTo>
                  <a:lnTo>
                    <a:pt x="423" y="571"/>
                  </a:lnTo>
                  <a:lnTo>
                    <a:pt x="416" y="587"/>
                  </a:lnTo>
                  <a:lnTo>
                    <a:pt x="407" y="601"/>
                  </a:lnTo>
                  <a:lnTo>
                    <a:pt x="399" y="615"/>
                  </a:lnTo>
                  <a:lnTo>
                    <a:pt x="388" y="629"/>
                  </a:lnTo>
                  <a:lnTo>
                    <a:pt x="378" y="642"/>
                  </a:lnTo>
                  <a:lnTo>
                    <a:pt x="368" y="653"/>
                  </a:lnTo>
                  <a:lnTo>
                    <a:pt x="357" y="664"/>
                  </a:lnTo>
                  <a:lnTo>
                    <a:pt x="346" y="674"/>
                  </a:lnTo>
                  <a:lnTo>
                    <a:pt x="334" y="683"/>
                  </a:lnTo>
                  <a:lnTo>
                    <a:pt x="321" y="691"/>
                  </a:lnTo>
                  <a:lnTo>
                    <a:pt x="308" y="697"/>
                  </a:lnTo>
                  <a:lnTo>
                    <a:pt x="294" y="702"/>
                  </a:lnTo>
                  <a:lnTo>
                    <a:pt x="280" y="706"/>
                  </a:lnTo>
                  <a:lnTo>
                    <a:pt x="265" y="708"/>
                  </a:lnTo>
                  <a:lnTo>
                    <a:pt x="250" y="709"/>
                  </a:lnTo>
                  <a:lnTo>
                    <a:pt x="239" y="709"/>
                  </a:lnTo>
                  <a:lnTo>
                    <a:pt x="230" y="708"/>
                  </a:lnTo>
                  <a:lnTo>
                    <a:pt x="221" y="706"/>
                  </a:lnTo>
                  <a:lnTo>
                    <a:pt x="212" y="704"/>
                  </a:lnTo>
                  <a:lnTo>
                    <a:pt x="204" y="702"/>
                  </a:lnTo>
                  <a:lnTo>
                    <a:pt x="197" y="699"/>
                  </a:lnTo>
                  <a:lnTo>
                    <a:pt x="190" y="695"/>
                  </a:lnTo>
                  <a:lnTo>
                    <a:pt x="183" y="691"/>
                  </a:lnTo>
                  <a:lnTo>
                    <a:pt x="177" y="687"/>
                  </a:lnTo>
                  <a:lnTo>
                    <a:pt x="172" y="682"/>
                  </a:lnTo>
                  <a:lnTo>
                    <a:pt x="167" y="677"/>
                  </a:lnTo>
                  <a:lnTo>
                    <a:pt x="162" y="672"/>
                  </a:lnTo>
                  <a:lnTo>
                    <a:pt x="154" y="660"/>
                  </a:lnTo>
                  <a:lnTo>
                    <a:pt x="147" y="647"/>
                  </a:lnTo>
                  <a:lnTo>
                    <a:pt x="142" y="633"/>
                  </a:lnTo>
                  <a:lnTo>
                    <a:pt x="138" y="618"/>
                  </a:lnTo>
                  <a:lnTo>
                    <a:pt x="134" y="603"/>
                  </a:lnTo>
                  <a:lnTo>
                    <a:pt x="132" y="587"/>
                  </a:lnTo>
                  <a:lnTo>
                    <a:pt x="130" y="555"/>
                  </a:lnTo>
                  <a:lnTo>
                    <a:pt x="129" y="524"/>
                  </a:lnTo>
                  <a:lnTo>
                    <a:pt x="130" y="498"/>
                  </a:lnTo>
                  <a:lnTo>
                    <a:pt x="132" y="469"/>
                  </a:lnTo>
                  <a:lnTo>
                    <a:pt x="135" y="435"/>
                  </a:lnTo>
                  <a:lnTo>
                    <a:pt x="140" y="401"/>
                  </a:lnTo>
                  <a:lnTo>
                    <a:pt x="147" y="366"/>
                  </a:lnTo>
                  <a:lnTo>
                    <a:pt x="155" y="329"/>
                  </a:lnTo>
                  <a:lnTo>
                    <a:pt x="165" y="293"/>
                  </a:lnTo>
                  <a:lnTo>
                    <a:pt x="177" y="258"/>
                  </a:lnTo>
                  <a:lnTo>
                    <a:pt x="184" y="241"/>
                  </a:lnTo>
                  <a:lnTo>
                    <a:pt x="191" y="224"/>
                  </a:lnTo>
                  <a:lnTo>
                    <a:pt x="199" y="208"/>
                  </a:lnTo>
                  <a:lnTo>
                    <a:pt x="207" y="193"/>
                  </a:lnTo>
                  <a:lnTo>
                    <a:pt x="215" y="178"/>
                  </a:lnTo>
                  <a:lnTo>
                    <a:pt x="225" y="164"/>
                  </a:lnTo>
                  <a:lnTo>
                    <a:pt x="234" y="150"/>
                  </a:lnTo>
                  <a:lnTo>
                    <a:pt x="244" y="138"/>
                  </a:lnTo>
                  <a:lnTo>
                    <a:pt x="255" y="127"/>
                  </a:lnTo>
                  <a:lnTo>
                    <a:pt x="266" y="117"/>
                  </a:lnTo>
                  <a:lnTo>
                    <a:pt x="278" y="109"/>
                  </a:lnTo>
                  <a:lnTo>
                    <a:pt x="291" y="102"/>
                  </a:lnTo>
                  <a:lnTo>
                    <a:pt x="304" y="96"/>
                  </a:lnTo>
                  <a:lnTo>
                    <a:pt x="317" y="92"/>
                  </a:lnTo>
                  <a:lnTo>
                    <a:pt x="331" y="89"/>
                  </a:lnTo>
                  <a:lnTo>
                    <a:pt x="346" y="88"/>
                  </a:lnTo>
                  <a:lnTo>
                    <a:pt x="356" y="89"/>
                  </a:lnTo>
                  <a:lnTo>
                    <a:pt x="365" y="90"/>
                  </a:lnTo>
                  <a:lnTo>
                    <a:pt x="374" y="91"/>
                  </a:lnTo>
                  <a:lnTo>
                    <a:pt x="382" y="94"/>
                  </a:lnTo>
                  <a:lnTo>
                    <a:pt x="390" y="97"/>
                  </a:lnTo>
                  <a:lnTo>
                    <a:pt x="397" y="100"/>
                  </a:lnTo>
                  <a:lnTo>
                    <a:pt x="406" y="104"/>
                  </a:lnTo>
                  <a:lnTo>
                    <a:pt x="413" y="108"/>
                  </a:lnTo>
                  <a:lnTo>
                    <a:pt x="419" y="114"/>
                  </a:lnTo>
                  <a:lnTo>
                    <a:pt x="425" y="119"/>
                  </a:lnTo>
                  <a:lnTo>
                    <a:pt x="431" y="125"/>
                  </a:lnTo>
                  <a:lnTo>
                    <a:pt x="436" y="131"/>
                  </a:lnTo>
                  <a:lnTo>
                    <a:pt x="446" y="145"/>
                  </a:lnTo>
                  <a:lnTo>
                    <a:pt x="455" y="161"/>
                  </a:lnTo>
                  <a:lnTo>
                    <a:pt x="462" y="177"/>
                  </a:lnTo>
                  <a:lnTo>
                    <a:pt x="468" y="193"/>
                  </a:lnTo>
                  <a:lnTo>
                    <a:pt x="473" y="211"/>
                  </a:lnTo>
                  <a:lnTo>
                    <a:pt x="477" y="228"/>
                  </a:lnTo>
                  <a:lnTo>
                    <a:pt x="480" y="246"/>
                  </a:lnTo>
                  <a:lnTo>
                    <a:pt x="482" y="264"/>
                  </a:lnTo>
                  <a:lnTo>
                    <a:pt x="483" y="281"/>
                  </a:lnTo>
                  <a:lnTo>
                    <a:pt x="484" y="298"/>
                  </a:lnTo>
                  <a:close/>
                  <a:moveTo>
                    <a:pt x="661" y="16"/>
                  </a:moveTo>
                  <a:lnTo>
                    <a:pt x="548" y="16"/>
                  </a:lnTo>
                  <a:lnTo>
                    <a:pt x="524" y="136"/>
                  </a:lnTo>
                  <a:lnTo>
                    <a:pt x="519" y="122"/>
                  </a:lnTo>
                  <a:lnTo>
                    <a:pt x="513" y="108"/>
                  </a:lnTo>
                  <a:lnTo>
                    <a:pt x="505" y="94"/>
                  </a:lnTo>
                  <a:lnTo>
                    <a:pt x="497" y="81"/>
                  </a:lnTo>
                  <a:lnTo>
                    <a:pt x="488" y="69"/>
                  </a:lnTo>
                  <a:lnTo>
                    <a:pt x="478" y="58"/>
                  </a:lnTo>
                  <a:lnTo>
                    <a:pt x="467" y="48"/>
                  </a:lnTo>
                  <a:lnTo>
                    <a:pt x="456" y="38"/>
                  </a:lnTo>
                  <a:lnTo>
                    <a:pt x="443" y="30"/>
                  </a:lnTo>
                  <a:lnTo>
                    <a:pt x="430" y="22"/>
                  </a:lnTo>
                  <a:lnTo>
                    <a:pt x="416" y="15"/>
                  </a:lnTo>
                  <a:lnTo>
                    <a:pt x="402" y="10"/>
                  </a:lnTo>
                  <a:lnTo>
                    <a:pt x="386" y="6"/>
                  </a:lnTo>
                  <a:lnTo>
                    <a:pt x="370" y="2"/>
                  </a:lnTo>
                  <a:lnTo>
                    <a:pt x="354" y="1"/>
                  </a:lnTo>
                  <a:lnTo>
                    <a:pt x="338" y="0"/>
                  </a:lnTo>
                  <a:lnTo>
                    <a:pt x="316" y="1"/>
                  </a:lnTo>
                  <a:lnTo>
                    <a:pt x="295" y="4"/>
                  </a:lnTo>
                  <a:lnTo>
                    <a:pt x="274" y="8"/>
                  </a:lnTo>
                  <a:lnTo>
                    <a:pt x="254" y="15"/>
                  </a:lnTo>
                  <a:lnTo>
                    <a:pt x="235" y="23"/>
                  </a:lnTo>
                  <a:lnTo>
                    <a:pt x="217" y="32"/>
                  </a:lnTo>
                  <a:lnTo>
                    <a:pt x="200" y="43"/>
                  </a:lnTo>
                  <a:lnTo>
                    <a:pt x="184" y="56"/>
                  </a:lnTo>
                  <a:lnTo>
                    <a:pt x="168" y="69"/>
                  </a:lnTo>
                  <a:lnTo>
                    <a:pt x="153" y="84"/>
                  </a:lnTo>
                  <a:lnTo>
                    <a:pt x="139" y="100"/>
                  </a:lnTo>
                  <a:lnTo>
                    <a:pt x="125" y="117"/>
                  </a:lnTo>
                  <a:lnTo>
                    <a:pt x="112" y="135"/>
                  </a:lnTo>
                  <a:lnTo>
                    <a:pt x="100" y="154"/>
                  </a:lnTo>
                  <a:lnTo>
                    <a:pt x="88" y="175"/>
                  </a:lnTo>
                  <a:lnTo>
                    <a:pt x="78" y="195"/>
                  </a:lnTo>
                  <a:lnTo>
                    <a:pt x="68" y="216"/>
                  </a:lnTo>
                  <a:lnTo>
                    <a:pt x="59" y="237"/>
                  </a:lnTo>
                  <a:lnTo>
                    <a:pt x="51" y="259"/>
                  </a:lnTo>
                  <a:lnTo>
                    <a:pt x="43" y="281"/>
                  </a:lnTo>
                  <a:lnTo>
                    <a:pt x="36" y="303"/>
                  </a:lnTo>
                  <a:lnTo>
                    <a:pt x="29" y="325"/>
                  </a:lnTo>
                  <a:lnTo>
                    <a:pt x="24" y="348"/>
                  </a:lnTo>
                  <a:lnTo>
                    <a:pt x="18" y="370"/>
                  </a:lnTo>
                  <a:lnTo>
                    <a:pt x="14" y="393"/>
                  </a:lnTo>
                  <a:lnTo>
                    <a:pt x="10" y="415"/>
                  </a:lnTo>
                  <a:lnTo>
                    <a:pt x="7" y="437"/>
                  </a:lnTo>
                  <a:lnTo>
                    <a:pt x="4" y="460"/>
                  </a:lnTo>
                  <a:lnTo>
                    <a:pt x="2" y="481"/>
                  </a:lnTo>
                  <a:lnTo>
                    <a:pt x="1" y="501"/>
                  </a:lnTo>
                  <a:lnTo>
                    <a:pt x="0" y="521"/>
                  </a:lnTo>
                  <a:lnTo>
                    <a:pt x="0" y="540"/>
                  </a:lnTo>
                  <a:lnTo>
                    <a:pt x="0" y="564"/>
                  </a:lnTo>
                  <a:lnTo>
                    <a:pt x="2" y="589"/>
                  </a:lnTo>
                  <a:lnTo>
                    <a:pt x="6" y="613"/>
                  </a:lnTo>
                  <a:lnTo>
                    <a:pt x="11" y="636"/>
                  </a:lnTo>
                  <a:lnTo>
                    <a:pt x="17" y="659"/>
                  </a:lnTo>
                  <a:lnTo>
                    <a:pt x="25" y="681"/>
                  </a:lnTo>
                  <a:lnTo>
                    <a:pt x="30" y="691"/>
                  </a:lnTo>
                  <a:lnTo>
                    <a:pt x="35" y="702"/>
                  </a:lnTo>
                  <a:lnTo>
                    <a:pt x="41" y="712"/>
                  </a:lnTo>
                  <a:lnTo>
                    <a:pt x="47" y="722"/>
                  </a:lnTo>
                  <a:lnTo>
                    <a:pt x="53" y="731"/>
                  </a:lnTo>
                  <a:lnTo>
                    <a:pt x="60" y="740"/>
                  </a:lnTo>
                  <a:lnTo>
                    <a:pt x="67" y="749"/>
                  </a:lnTo>
                  <a:lnTo>
                    <a:pt x="75" y="757"/>
                  </a:lnTo>
                  <a:lnTo>
                    <a:pt x="84" y="764"/>
                  </a:lnTo>
                  <a:lnTo>
                    <a:pt x="92" y="771"/>
                  </a:lnTo>
                  <a:lnTo>
                    <a:pt x="102" y="777"/>
                  </a:lnTo>
                  <a:lnTo>
                    <a:pt x="111" y="783"/>
                  </a:lnTo>
                  <a:lnTo>
                    <a:pt x="123" y="788"/>
                  </a:lnTo>
                  <a:lnTo>
                    <a:pt x="134" y="793"/>
                  </a:lnTo>
                  <a:lnTo>
                    <a:pt x="145" y="797"/>
                  </a:lnTo>
                  <a:lnTo>
                    <a:pt x="157" y="800"/>
                  </a:lnTo>
                  <a:lnTo>
                    <a:pt x="169" y="803"/>
                  </a:lnTo>
                  <a:lnTo>
                    <a:pt x="182" y="805"/>
                  </a:lnTo>
                  <a:lnTo>
                    <a:pt x="195" y="806"/>
                  </a:lnTo>
                  <a:lnTo>
                    <a:pt x="210" y="806"/>
                  </a:lnTo>
                  <a:lnTo>
                    <a:pt x="229" y="806"/>
                  </a:lnTo>
                  <a:lnTo>
                    <a:pt x="246" y="804"/>
                  </a:lnTo>
                  <a:lnTo>
                    <a:pt x="263" y="801"/>
                  </a:lnTo>
                  <a:lnTo>
                    <a:pt x="279" y="796"/>
                  </a:lnTo>
                  <a:lnTo>
                    <a:pt x="295" y="791"/>
                  </a:lnTo>
                  <a:lnTo>
                    <a:pt x="309" y="784"/>
                  </a:lnTo>
                  <a:lnTo>
                    <a:pt x="322" y="776"/>
                  </a:lnTo>
                  <a:lnTo>
                    <a:pt x="335" y="767"/>
                  </a:lnTo>
                  <a:lnTo>
                    <a:pt x="347" y="757"/>
                  </a:lnTo>
                  <a:lnTo>
                    <a:pt x="359" y="747"/>
                  </a:lnTo>
                  <a:lnTo>
                    <a:pt x="370" y="735"/>
                  </a:lnTo>
                  <a:lnTo>
                    <a:pt x="380" y="722"/>
                  </a:lnTo>
                  <a:lnTo>
                    <a:pt x="390" y="707"/>
                  </a:lnTo>
                  <a:lnTo>
                    <a:pt x="401" y="692"/>
                  </a:lnTo>
                  <a:lnTo>
                    <a:pt x="410" y="677"/>
                  </a:lnTo>
                  <a:lnTo>
                    <a:pt x="419" y="661"/>
                  </a:lnTo>
                  <a:lnTo>
                    <a:pt x="428" y="661"/>
                  </a:lnTo>
                  <a:lnTo>
                    <a:pt x="403" y="790"/>
                  </a:lnTo>
                  <a:lnTo>
                    <a:pt x="516" y="790"/>
                  </a:lnTo>
                  <a:lnTo>
                    <a:pt x="661" y="1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  <a:cs typeface="+mn-cs"/>
              </a:endParaRPr>
            </a:p>
          </p:txBody>
        </p:sp>
        <p:sp>
          <p:nvSpPr>
            <p:cNvPr id="30" name="Freeform 26"/>
            <p:cNvSpPr>
              <a:spLocks/>
            </p:cNvSpPr>
            <p:nvPr/>
          </p:nvSpPr>
          <p:spPr bwMode="gray">
            <a:xfrm>
              <a:off x="2289175" y="3751263"/>
              <a:ext cx="142875" cy="169862"/>
            </a:xfrm>
            <a:custGeom>
              <a:avLst/>
              <a:gdLst/>
              <a:ahLst/>
              <a:cxnLst>
                <a:cxn ang="0">
                  <a:pos x="547" y="790"/>
                </a:cxn>
                <a:cxn ang="0">
                  <a:pos x="523" y="330"/>
                </a:cxn>
                <a:cxn ang="0">
                  <a:pos x="534" y="263"/>
                </a:cxn>
                <a:cxn ang="0">
                  <a:pos x="538" y="232"/>
                </a:cxn>
                <a:cxn ang="0">
                  <a:pos x="539" y="202"/>
                </a:cxn>
                <a:cxn ang="0">
                  <a:pos x="538" y="182"/>
                </a:cxn>
                <a:cxn ang="0">
                  <a:pos x="533" y="163"/>
                </a:cxn>
                <a:cxn ang="0">
                  <a:pos x="526" y="146"/>
                </a:cxn>
                <a:cxn ang="0">
                  <a:pos x="516" y="131"/>
                </a:cxn>
                <a:cxn ang="0">
                  <a:pos x="503" y="120"/>
                </a:cxn>
                <a:cxn ang="0">
                  <a:pos x="488" y="111"/>
                </a:cxn>
                <a:cxn ang="0">
                  <a:pos x="471" y="106"/>
                </a:cxn>
                <a:cxn ang="0">
                  <a:pos x="451" y="104"/>
                </a:cxn>
                <a:cxn ang="0">
                  <a:pos x="418" y="108"/>
                </a:cxn>
                <a:cxn ang="0">
                  <a:pos x="388" y="117"/>
                </a:cxn>
                <a:cxn ang="0">
                  <a:pos x="360" y="132"/>
                </a:cxn>
                <a:cxn ang="0">
                  <a:pos x="334" y="152"/>
                </a:cxn>
                <a:cxn ang="0">
                  <a:pos x="310" y="176"/>
                </a:cxn>
                <a:cxn ang="0">
                  <a:pos x="288" y="204"/>
                </a:cxn>
                <a:cxn ang="0">
                  <a:pos x="266" y="234"/>
                </a:cxn>
                <a:cxn ang="0">
                  <a:pos x="248" y="266"/>
                </a:cxn>
                <a:cxn ang="0">
                  <a:pos x="216" y="335"/>
                </a:cxn>
                <a:cxn ang="0">
                  <a:pos x="191" y="404"/>
                </a:cxn>
                <a:cxn ang="0">
                  <a:pos x="172" y="469"/>
                </a:cxn>
                <a:cxn ang="0">
                  <a:pos x="160" y="524"/>
                </a:cxn>
                <a:cxn ang="0">
                  <a:pos x="0" y="790"/>
                </a:cxn>
                <a:cxn ang="0">
                  <a:pos x="257" y="16"/>
                </a:cxn>
                <a:cxn ang="0">
                  <a:pos x="233" y="178"/>
                </a:cxn>
                <a:cxn ang="0">
                  <a:pos x="260" y="139"/>
                </a:cxn>
                <a:cxn ang="0">
                  <a:pos x="288" y="105"/>
                </a:cxn>
                <a:cxn ang="0">
                  <a:pos x="316" y="75"/>
                </a:cxn>
                <a:cxn ang="0">
                  <a:pos x="346" y="49"/>
                </a:cxn>
                <a:cxn ang="0">
                  <a:pos x="379" y="28"/>
                </a:cxn>
                <a:cxn ang="0">
                  <a:pos x="417" y="13"/>
                </a:cxn>
                <a:cxn ang="0">
                  <a:pos x="459" y="3"/>
                </a:cxn>
                <a:cxn ang="0">
                  <a:pos x="507" y="0"/>
                </a:cxn>
                <a:cxn ang="0">
                  <a:pos x="541" y="3"/>
                </a:cxn>
                <a:cxn ang="0">
                  <a:pos x="572" y="14"/>
                </a:cxn>
                <a:cxn ang="0">
                  <a:pos x="599" y="30"/>
                </a:cxn>
                <a:cxn ang="0">
                  <a:pos x="620" y="51"/>
                </a:cxn>
                <a:cxn ang="0">
                  <a:pos x="638" y="76"/>
                </a:cxn>
                <a:cxn ang="0">
                  <a:pos x="650" y="105"/>
                </a:cxn>
                <a:cxn ang="0">
                  <a:pos x="658" y="136"/>
                </a:cxn>
                <a:cxn ang="0">
                  <a:pos x="661" y="170"/>
                </a:cxn>
                <a:cxn ang="0">
                  <a:pos x="659" y="200"/>
                </a:cxn>
                <a:cxn ang="0">
                  <a:pos x="656" y="230"/>
                </a:cxn>
                <a:cxn ang="0">
                  <a:pos x="645" y="290"/>
                </a:cxn>
              </a:cxnLst>
              <a:rect l="0" t="0" r="r" b="b"/>
              <a:pathLst>
                <a:path w="661" h="790">
                  <a:moveTo>
                    <a:pt x="645" y="290"/>
                  </a:moveTo>
                  <a:lnTo>
                    <a:pt x="547" y="790"/>
                  </a:lnTo>
                  <a:lnTo>
                    <a:pt x="435" y="790"/>
                  </a:lnTo>
                  <a:lnTo>
                    <a:pt x="523" y="330"/>
                  </a:lnTo>
                  <a:lnTo>
                    <a:pt x="529" y="296"/>
                  </a:lnTo>
                  <a:lnTo>
                    <a:pt x="534" y="263"/>
                  </a:lnTo>
                  <a:lnTo>
                    <a:pt x="536" y="247"/>
                  </a:lnTo>
                  <a:lnTo>
                    <a:pt x="538" y="232"/>
                  </a:lnTo>
                  <a:lnTo>
                    <a:pt x="539" y="217"/>
                  </a:lnTo>
                  <a:lnTo>
                    <a:pt x="539" y="202"/>
                  </a:lnTo>
                  <a:lnTo>
                    <a:pt x="539" y="191"/>
                  </a:lnTo>
                  <a:lnTo>
                    <a:pt x="538" y="182"/>
                  </a:lnTo>
                  <a:lnTo>
                    <a:pt x="536" y="172"/>
                  </a:lnTo>
                  <a:lnTo>
                    <a:pt x="533" y="163"/>
                  </a:lnTo>
                  <a:lnTo>
                    <a:pt x="530" y="154"/>
                  </a:lnTo>
                  <a:lnTo>
                    <a:pt x="526" y="146"/>
                  </a:lnTo>
                  <a:lnTo>
                    <a:pt x="521" y="138"/>
                  </a:lnTo>
                  <a:lnTo>
                    <a:pt x="516" y="131"/>
                  </a:lnTo>
                  <a:lnTo>
                    <a:pt x="510" y="125"/>
                  </a:lnTo>
                  <a:lnTo>
                    <a:pt x="503" y="120"/>
                  </a:lnTo>
                  <a:lnTo>
                    <a:pt x="496" y="115"/>
                  </a:lnTo>
                  <a:lnTo>
                    <a:pt x="488" y="111"/>
                  </a:lnTo>
                  <a:lnTo>
                    <a:pt x="480" y="108"/>
                  </a:lnTo>
                  <a:lnTo>
                    <a:pt x="471" y="106"/>
                  </a:lnTo>
                  <a:lnTo>
                    <a:pt x="461" y="105"/>
                  </a:lnTo>
                  <a:lnTo>
                    <a:pt x="451" y="104"/>
                  </a:lnTo>
                  <a:lnTo>
                    <a:pt x="434" y="105"/>
                  </a:lnTo>
                  <a:lnTo>
                    <a:pt x="418" y="108"/>
                  </a:lnTo>
                  <a:lnTo>
                    <a:pt x="403" y="112"/>
                  </a:lnTo>
                  <a:lnTo>
                    <a:pt x="388" y="117"/>
                  </a:lnTo>
                  <a:lnTo>
                    <a:pt x="374" y="124"/>
                  </a:lnTo>
                  <a:lnTo>
                    <a:pt x="360" y="132"/>
                  </a:lnTo>
                  <a:lnTo>
                    <a:pt x="347" y="141"/>
                  </a:lnTo>
                  <a:lnTo>
                    <a:pt x="334" y="152"/>
                  </a:lnTo>
                  <a:lnTo>
                    <a:pt x="322" y="164"/>
                  </a:lnTo>
                  <a:lnTo>
                    <a:pt x="310" y="176"/>
                  </a:lnTo>
                  <a:lnTo>
                    <a:pt x="299" y="190"/>
                  </a:lnTo>
                  <a:lnTo>
                    <a:pt x="288" y="204"/>
                  </a:lnTo>
                  <a:lnTo>
                    <a:pt x="277" y="218"/>
                  </a:lnTo>
                  <a:lnTo>
                    <a:pt x="266" y="234"/>
                  </a:lnTo>
                  <a:lnTo>
                    <a:pt x="257" y="250"/>
                  </a:lnTo>
                  <a:lnTo>
                    <a:pt x="248" y="266"/>
                  </a:lnTo>
                  <a:lnTo>
                    <a:pt x="231" y="300"/>
                  </a:lnTo>
                  <a:lnTo>
                    <a:pt x="216" y="335"/>
                  </a:lnTo>
                  <a:lnTo>
                    <a:pt x="202" y="369"/>
                  </a:lnTo>
                  <a:lnTo>
                    <a:pt x="191" y="404"/>
                  </a:lnTo>
                  <a:lnTo>
                    <a:pt x="181" y="437"/>
                  </a:lnTo>
                  <a:lnTo>
                    <a:pt x="172" y="469"/>
                  </a:lnTo>
                  <a:lnTo>
                    <a:pt x="166" y="498"/>
                  </a:lnTo>
                  <a:lnTo>
                    <a:pt x="160" y="524"/>
                  </a:lnTo>
                  <a:lnTo>
                    <a:pt x="112" y="790"/>
                  </a:lnTo>
                  <a:lnTo>
                    <a:pt x="0" y="790"/>
                  </a:lnTo>
                  <a:lnTo>
                    <a:pt x="144" y="16"/>
                  </a:lnTo>
                  <a:lnTo>
                    <a:pt x="257" y="16"/>
                  </a:lnTo>
                  <a:lnTo>
                    <a:pt x="233" y="170"/>
                  </a:lnTo>
                  <a:lnTo>
                    <a:pt x="233" y="178"/>
                  </a:lnTo>
                  <a:lnTo>
                    <a:pt x="246" y="157"/>
                  </a:lnTo>
                  <a:lnTo>
                    <a:pt x="260" y="139"/>
                  </a:lnTo>
                  <a:lnTo>
                    <a:pt x="274" y="122"/>
                  </a:lnTo>
                  <a:lnTo>
                    <a:pt x="288" y="105"/>
                  </a:lnTo>
                  <a:lnTo>
                    <a:pt x="302" y="89"/>
                  </a:lnTo>
                  <a:lnTo>
                    <a:pt x="316" y="75"/>
                  </a:lnTo>
                  <a:lnTo>
                    <a:pt x="331" y="61"/>
                  </a:lnTo>
                  <a:lnTo>
                    <a:pt x="346" y="49"/>
                  </a:lnTo>
                  <a:lnTo>
                    <a:pt x="362" y="38"/>
                  </a:lnTo>
                  <a:lnTo>
                    <a:pt x="379" y="28"/>
                  </a:lnTo>
                  <a:lnTo>
                    <a:pt x="398" y="20"/>
                  </a:lnTo>
                  <a:lnTo>
                    <a:pt x="417" y="13"/>
                  </a:lnTo>
                  <a:lnTo>
                    <a:pt x="437" y="7"/>
                  </a:lnTo>
                  <a:lnTo>
                    <a:pt x="459" y="3"/>
                  </a:lnTo>
                  <a:lnTo>
                    <a:pt x="482" y="1"/>
                  </a:lnTo>
                  <a:lnTo>
                    <a:pt x="507" y="0"/>
                  </a:lnTo>
                  <a:lnTo>
                    <a:pt x="524" y="1"/>
                  </a:lnTo>
                  <a:lnTo>
                    <a:pt x="541" y="3"/>
                  </a:lnTo>
                  <a:lnTo>
                    <a:pt x="558" y="8"/>
                  </a:lnTo>
                  <a:lnTo>
                    <a:pt x="572" y="14"/>
                  </a:lnTo>
                  <a:lnTo>
                    <a:pt x="586" y="21"/>
                  </a:lnTo>
                  <a:lnTo>
                    <a:pt x="599" y="30"/>
                  </a:lnTo>
                  <a:lnTo>
                    <a:pt x="610" y="40"/>
                  </a:lnTo>
                  <a:lnTo>
                    <a:pt x="620" y="51"/>
                  </a:lnTo>
                  <a:lnTo>
                    <a:pt x="630" y="63"/>
                  </a:lnTo>
                  <a:lnTo>
                    <a:pt x="638" y="76"/>
                  </a:lnTo>
                  <a:lnTo>
                    <a:pt x="645" y="90"/>
                  </a:lnTo>
                  <a:lnTo>
                    <a:pt x="650" y="105"/>
                  </a:lnTo>
                  <a:lnTo>
                    <a:pt x="655" y="120"/>
                  </a:lnTo>
                  <a:lnTo>
                    <a:pt x="658" y="136"/>
                  </a:lnTo>
                  <a:lnTo>
                    <a:pt x="660" y="152"/>
                  </a:lnTo>
                  <a:lnTo>
                    <a:pt x="661" y="170"/>
                  </a:lnTo>
                  <a:lnTo>
                    <a:pt x="660" y="185"/>
                  </a:lnTo>
                  <a:lnTo>
                    <a:pt x="659" y="200"/>
                  </a:lnTo>
                  <a:lnTo>
                    <a:pt x="658" y="215"/>
                  </a:lnTo>
                  <a:lnTo>
                    <a:pt x="656" y="230"/>
                  </a:lnTo>
                  <a:lnTo>
                    <a:pt x="650" y="260"/>
                  </a:lnTo>
                  <a:lnTo>
                    <a:pt x="645" y="29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  <a:cs typeface="+mn-cs"/>
              </a:endParaRPr>
            </a:p>
          </p:txBody>
        </p:sp>
        <p:sp>
          <p:nvSpPr>
            <p:cNvPr id="31" name="Freeform 27"/>
            <p:cNvSpPr>
              <a:spLocks/>
            </p:cNvSpPr>
            <p:nvPr/>
          </p:nvSpPr>
          <p:spPr bwMode="gray">
            <a:xfrm>
              <a:off x="2446338" y="3751263"/>
              <a:ext cx="133350" cy="173037"/>
            </a:xfrm>
            <a:custGeom>
              <a:avLst/>
              <a:gdLst/>
              <a:ahLst/>
              <a:cxnLst>
                <a:cxn ang="0">
                  <a:pos x="484" y="238"/>
                </a:cxn>
                <a:cxn ang="0">
                  <a:pos x="484" y="202"/>
                </a:cxn>
                <a:cxn ang="0">
                  <a:pos x="480" y="168"/>
                </a:cxn>
                <a:cxn ang="0">
                  <a:pos x="468" y="137"/>
                </a:cxn>
                <a:cxn ang="0">
                  <a:pos x="447" y="113"/>
                </a:cxn>
                <a:cxn ang="0">
                  <a:pos x="420" y="97"/>
                </a:cxn>
                <a:cxn ang="0">
                  <a:pos x="385" y="89"/>
                </a:cxn>
                <a:cxn ang="0">
                  <a:pos x="339" y="91"/>
                </a:cxn>
                <a:cxn ang="0">
                  <a:pos x="296" y="103"/>
                </a:cxn>
                <a:cxn ang="0">
                  <a:pos x="258" y="124"/>
                </a:cxn>
                <a:cxn ang="0">
                  <a:pos x="226" y="153"/>
                </a:cxn>
                <a:cxn ang="0">
                  <a:pos x="199" y="190"/>
                </a:cxn>
                <a:cxn ang="0">
                  <a:pos x="177" y="230"/>
                </a:cxn>
                <a:cxn ang="0">
                  <a:pos x="159" y="273"/>
                </a:cxn>
                <a:cxn ang="0">
                  <a:pos x="137" y="364"/>
                </a:cxn>
                <a:cxn ang="0">
                  <a:pos x="130" y="452"/>
                </a:cxn>
                <a:cxn ang="0">
                  <a:pos x="132" y="497"/>
                </a:cxn>
                <a:cxn ang="0">
                  <a:pos x="138" y="538"/>
                </a:cxn>
                <a:cxn ang="0">
                  <a:pos x="149" y="575"/>
                </a:cxn>
                <a:cxn ang="0">
                  <a:pos x="164" y="607"/>
                </a:cxn>
                <a:cxn ang="0">
                  <a:pos x="184" y="635"/>
                </a:cxn>
                <a:cxn ang="0">
                  <a:pos x="209" y="659"/>
                </a:cxn>
                <a:cxn ang="0">
                  <a:pos x="238" y="678"/>
                </a:cxn>
                <a:cxn ang="0">
                  <a:pos x="272" y="693"/>
                </a:cxn>
                <a:cxn ang="0">
                  <a:pos x="311" y="703"/>
                </a:cxn>
                <a:cxn ang="0">
                  <a:pos x="355" y="708"/>
                </a:cxn>
                <a:cxn ang="0">
                  <a:pos x="418" y="709"/>
                </a:cxn>
                <a:cxn ang="0">
                  <a:pos x="478" y="702"/>
                </a:cxn>
                <a:cxn ang="0">
                  <a:pos x="492" y="782"/>
                </a:cxn>
                <a:cxn ang="0">
                  <a:pos x="435" y="797"/>
                </a:cxn>
                <a:cxn ang="0">
                  <a:pos x="377" y="805"/>
                </a:cxn>
                <a:cxn ang="0">
                  <a:pos x="318" y="806"/>
                </a:cxn>
                <a:cxn ang="0">
                  <a:pos x="262" y="802"/>
                </a:cxn>
                <a:cxn ang="0">
                  <a:pos x="210" y="791"/>
                </a:cxn>
                <a:cxn ang="0">
                  <a:pos x="164" y="776"/>
                </a:cxn>
                <a:cxn ang="0">
                  <a:pos x="123" y="754"/>
                </a:cxn>
                <a:cxn ang="0">
                  <a:pos x="87" y="727"/>
                </a:cxn>
                <a:cxn ang="0">
                  <a:pos x="58" y="693"/>
                </a:cxn>
                <a:cxn ang="0">
                  <a:pos x="34" y="655"/>
                </a:cxn>
                <a:cxn ang="0">
                  <a:pos x="17" y="610"/>
                </a:cxn>
                <a:cxn ang="0">
                  <a:pos x="5" y="560"/>
                </a:cxn>
                <a:cxn ang="0">
                  <a:pos x="0" y="504"/>
                </a:cxn>
                <a:cxn ang="0">
                  <a:pos x="1" y="440"/>
                </a:cxn>
                <a:cxn ang="0">
                  <a:pos x="9" y="374"/>
                </a:cxn>
                <a:cxn ang="0">
                  <a:pos x="24" y="309"/>
                </a:cxn>
                <a:cxn ang="0">
                  <a:pos x="45" y="248"/>
                </a:cxn>
                <a:cxn ang="0">
                  <a:pos x="74" y="190"/>
                </a:cxn>
                <a:cxn ang="0">
                  <a:pos x="110" y="137"/>
                </a:cxn>
                <a:cxn ang="0">
                  <a:pos x="152" y="91"/>
                </a:cxn>
                <a:cxn ang="0">
                  <a:pos x="200" y="53"/>
                </a:cxn>
                <a:cxn ang="0">
                  <a:pos x="256" y="24"/>
                </a:cxn>
                <a:cxn ang="0">
                  <a:pos x="318" y="6"/>
                </a:cxn>
                <a:cxn ang="0">
                  <a:pos x="388" y="0"/>
                </a:cxn>
                <a:cxn ang="0">
                  <a:pos x="454" y="6"/>
                </a:cxn>
                <a:cxn ang="0">
                  <a:pos x="514" y="25"/>
                </a:cxn>
                <a:cxn ang="0">
                  <a:pos x="557" y="51"/>
                </a:cxn>
                <a:cxn ang="0">
                  <a:pos x="579" y="72"/>
                </a:cxn>
                <a:cxn ang="0">
                  <a:pos x="596" y="96"/>
                </a:cxn>
                <a:cxn ang="0">
                  <a:pos x="609" y="124"/>
                </a:cxn>
                <a:cxn ang="0">
                  <a:pos x="618" y="156"/>
                </a:cxn>
                <a:cxn ang="0">
                  <a:pos x="621" y="194"/>
                </a:cxn>
                <a:cxn ang="0">
                  <a:pos x="619" y="229"/>
                </a:cxn>
                <a:cxn ang="0">
                  <a:pos x="613" y="250"/>
                </a:cxn>
              </a:cxnLst>
              <a:rect l="0" t="0" r="r" b="b"/>
              <a:pathLst>
                <a:path w="621" h="806">
                  <a:moveTo>
                    <a:pt x="613" y="250"/>
                  </a:moveTo>
                  <a:lnTo>
                    <a:pt x="484" y="250"/>
                  </a:lnTo>
                  <a:lnTo>
                    <a:pt x="484" y="238"/>
                  </a:lnTo>
                  <a:lnTo>
                    <a:pt x="484" y="226"/>
                  </a:lnTo>
                  <a:lnTo>
                    <a:pt x="484" y="214"/>
                  </a:lnTo>
                  <a:lnTo>
                    <a:pt x="484" y="202"/>
                  </a:lnTo>
                  <a:lnTo>
                    <a:pt x="484" y="190"/>
                  </a:lnTo>
                  <a:lnTo>
                    <a:pt x="482" y="178"/>
                  </a:lnTo>
                  <a:lnTo>
                    <a:pt x="480" y="168"/>
                  </a:lnTo>
                  <a:lnTo>
                    <a:pt x="477" y="156"/>
                  </a:lnTo>
                  <a:lnTo>
                    <a:pt x="473" y="146"/>
                  </a:lnTo>
                  <a:lnTo>
                    <a:pt x="468" y="137"/>
                  </a:lnTo>
                  <a:lnTo>
                    <a:pt x="462" y="128"/>
                  </a:lnTo>
                  <a:lnTo>
                    <a:pt x="455" y="120"/>
                  </a:lnTo>
                  <a:lnTo>
                    <a:pt x="447" y="113"/>
                  </a:lnTo>
                  <a:lnTo>
                    <a:pt x="439" y="107"/>
                  </a:lnTo>
                  <a:lnTo>
                    <a:pt x="430" y="101"/>
                  </a:lnTo>
                  <a:lnTo>
                    <a:pt x="420" y="97"/>
                  </a:lnTo>
                  <a:lnTo>
                    <a:pt x="409" y="93"/>
                  </a:lnTo>
                  <a:lnTo>
                    <a:pt x="397" y="90"/>
                  </a:lnTo>
                  <a:lnTo>
                    <a:pt x="385" y="89"/>
                  </a:lnTo>
                  <a:lnTo>
                    <a:pt x="372" y="88"/>
                  </a:lnTo>
                  <a:lnTo>
                    <a:pt x="354" y="89"/>
                  </a:lnTo>
                  <a:lnTo>
                    <a:pt x="339" y="91"/>
                  </a:lnTo>
                  <a:lnTo>
                    <a:pt x="324" y="94"/>
                  </a:lnTo>
                  <a:lnTo>
                    <a:pt x="309" y="98"/>
                  </a:lnTo>
                  <a:lnTo>
                    <a:pt x="296" y="103"/>
                  </a:lnTo>
                  <a:lnTo>
                    <a:pt x="283" y="109"/>
                  </a:lnTo>
                  <a:lnTo>
                    <a:pt x="270" y="116"/>
                  </a:lnTo>
                  <a:lnTo>
                    <a:pt x="258" y="124"/>
                  </a:lnTo>
                  <a:lnTo>
                    <a:pt x="247" y="133"/>
                  </a:lnTo>
                  <a:lnTo>
                    <a:pt x="236" y="143"/>
                  </a:lnTo>
                  <a:lnTo>
                    <a:pt x="226" y="153"/>
                  </a:lnTo>
                  <a:lnTo>
                    <a:pt x="217" y="166"/>
                  </a:lnTo>
                  <a:lnTo>
                    <a:pt x="207" y="177"/>
                  </a:lnTo>
                  <a:lnTo>
                    <a:pt x="199" y="190"/>
                  </a:lnTo>
                  <a:lnTo>
                    <a:pt x="191" y="203"/>
                  </a:lnTo>
                  <a:lnTo>
                    <a:pt x="184" y="216"/>
                  </a:lnTo>
                  <a:lnTo>
                    <a:pt x="177" y="230"/>
                  </a:lnTo>
                  <a:lnTo>
                    <a:pt x="170" y="244"/>
                  </a:lnTo>
                  <a:lnTo>
                    <a:pt x="164" y="258"/>
                  </a:lnTo>
                  <a:lnTo>
                    <a:pt x="159" y="273"/>
                  </a:lnTo>
                  <a:lnTo>
                    <a:pt x="150" y="303"/>
                  </a:lnTo>
                  <a:lnTo>
                    <a:pt x="142" y="333"/>
                  </a:lnTo>
                  <a:lnTo>
                    <a:pt x="137" y="364"/>
                  </a:lnTo>
                  <a:lnTo>
                    <a:pt x="133" y="394"/>
                  </a:lnTo>
                  <a:lnTo>
                    <a:pt x="130" y="423"/>
                  </a:lnTo>
                  <a:lnTo>
                    <a:pt x="130" y="452"/>
                  </a:lnTo>
                  <a:lnTo>
                    <a:pt x="130" y="468"/>
                  </a:lnTo>
                  <a:lnTo>
                    <a:pt x="130" y="483"/>
                  </a:lnTo>
                  <a:lnTo>
                    <a:pt x="132" y="497"/>
                  </a:lnTo>
                  <a:lnTo>
                    <a:pt x="133" y="511"/>
                  </a:lnTo>
                  <a:lnTo>
                    <a:pt x="135" y="525"/>
                  </a:lnTo>
                  <a:lnTo>
                    <a:pt x="138" y="538"/>
                  </a:lnTo>
                  <a:lnTo>
                    <a:pt x="141" y="551"/>
                  </a:lnTo>
                  <a:lnTo>
                    <a:pt x="145" y="563"/>
                  </a:lnTo>
                  <a:lnTo>
                    <a:pt x="149" y="575"/>
                  </a:lnTo>
                  <a:lnTo>
                    <a:pt x="153" y="586"/>
                  </a:lnTo>
                  <a:lnTo>
                    <a:pt x="159" y="597"/>
                  </a:lnTo>
                  <a:lnTo>
                    <a:pt x="164" y="607"/>
                  </a:lnTo>
                  <a:lnTo>
                    <a:pt x="170" y="617"/>
                  </a:lnTo>
                  <a:lnTo>
                    <a:pt x="177" y="627"/>
                  </a:lnTo>
                  <a:lnTo>
                    <a:pt x="184" y="635"/>
                  </a:lnTo>
                  <a:lnTo>
                    <a:pt x="192" y="644"/>
                  </a:lnTo>
                  <a:lnTo>
                    <a:pt x="200" y="652"/>
                  </a:lnTo>
                  <a:lnTo>
                    <a:pt x="209" y="659"/>
                  </a:lnTo>
                  <a:lnTo>
                    <a:pt x="218" y="666"/>
                  </a:lnTo>
                  <a:lnTo>
                    <a:pt x="228" y="672"/>
                  </a:lnTo>
                  <a:lnTo>
                    <a:pt x="238" y="678"/>
                  </a:lnTo>
                  <a:lnTo>
                    <a:pt x="249" y="683"/>
                  </a:lnTo>
                  <a:lnTo>
                    <a:pt x="260" y="688"/>
                  </a:lnTo>
                  <a:lnTo>
                    <a:pt x="272" y="693"/>
                  </a:lnTo>
                  <a:lnTo>
                    <a:pt x="284" y="697"/>
                  </a:lnTo>
                  <a:lnTo>
                    <a:pt x="297" y="700"/>
                  </a:lnTo>
                  <a:lnTo>
                    <a:pt x="311" y="703"/>
                  </a:lnTo>
                  <a:lnTo>
                    <a:pt x="325" y="705"/>
                  </a:lnTo>
                  <a:lnTo>
                    <a:pt x="339" y="707"/>
                  </a:lnTo>
                  <a:lnTo>
                    <a:pt x="355" y="708"/>
                  </a:lnTo>
                  <a:lnTo>
                    <a:pt x="370" y="709"/>
                  </a:lnTo>
                  <a:lnTo>
                    <a:pt x="388" y="709"/>
                  </a:lnTo>
                  <a:lnTo>
                    <a:pt x="418" y="709"/>
                  </a:lnTo>
                  <a:lnTo>
                    <a:pt x="448" y="707"/>
                  </a:lnTo>
                  <a:lnTo>
                    <a:pt x="463" y="705"/>
                  </a:lnTo>
                  <a:lnTo>
                    <a:pt x="478" y="702"/>
                  </a:lnTo>
                  <a:lnTo>
                    <a:pt x="493" y="698"/>
                  </a:lnTo>
                  <a:lnTo>
                    <a:pt x="508" y="693"/>
                  </a:lnTo>
                  <a:lnTo>
                    <a:pt x="492" y="782"/>
                  </a:lnTo>
                  <a:lnTo>
                    <a:pt x="474" y="788"/>
                  </a:lnTo>
                  <a:lnTo>
                    <a:pt x="455" y="793"/>
                  </a:lnTo>
                  <a:lnTo>
                    <a:pt x="435" y="797"/>
                  </a:lnTo>
                  <a:lnTo>
                    <a:pt x="416" y="800"/>
                  </a:lnTo>
                  <a:lnTo>
                    <a:pt x="396" y="803"/>
                  </a:lnTo>
                  <a:lnTo>
                    <a:pt x="377" y="805"/>
                  </a:lnTo>
                  <a:lnTo>
                    <a:pt x="357" y="806"/>
                  </a:lnTo>
                  <a:lnTo>
                    <a:pt x="338" y="806"/>
                  </a:lnTo>
                  <a:lnTo>
                    <a:pt x="318" y="806"/>
                  </a:lnTo>
                  <a:lnTo>
                    <a:pt x="299" y="805"/>
                  </a:lnTo>
                  <a:lnTo>
                    <a:pt x="280" y="804"/>
                  </a:lnTo>
                  <a:lnTo>
                    <a:pt x="262" y="802"/>
                  </a:lnTo>
                  <a:lnTo>
                    <a:pt x="244" y="799"/>
                  </a:lnTo>
                  <a:lnTo>
                    <a:pt x="227" y="795"/>
                  </a:lnTo>
                  <a:lnTo>
                    <a:pt x="210" y="791"/>
                  </a:lnTo>
                  <a:lnTo>
                    <a:pt x="194" y="787"/>
                  </a:lnTo>
                  <a:lnTo>
                    <a:pt x="179" y="782"/>
                  </a:lnTo>
                  <a:lnTo>
                    <a:pt x="164" y="776"/>
                  </a:lnTo>
                  <a:lnTo>
                    <a:pt x="150" y="769"/>
                  </a:lnTo>
                  <a:lnTo>
                    <a:pt x="136" y="762"/>
                  </a:lnTo>
                  <a:lnTo>
                    <a:pt x="123" y="754"/>
                  </a:lnTo>
                  <a:lnTo>
                    <a:pt x="111" y="746"/>
                  </a:lnTo>
                  <a:lnTo>
                    <a:pt x="99" y="737"/>
                  </a:lnTo>
                  <a:lnTo>
                    <a:pt x="87" y="727"/>
                  </a:lnTo>
                  <a:lnTo>
                    <a:pt x="77" y="716"/>
                  </a:lnTo>
                  <a:lnTo>
                    <a:pt x="67" y="705"/>
                  </a:lnTo>
                  <a:lnTo>
                    <a:pt x="58" y="693"/>
                  </a:lnTo>
                  <a:lnTo>
                    <a:pt x="49" y="681"/>
                  </a:lnTo>
                  <a:lnTo>
                    <a:pt x="42" y="668"/>
                  </a:lnTo>
                  <a:lnTo>
                    <a:pt x="34" y="655"/>
                  </a:lnTo>
                  <a:lnTo>
                    <a:pt x="28" y="641"/>
                  </a:lnTo>
                  <a:lnTo>
                    <a:pt x="22" y="626"/>
                  </a:lnTo>
                  <a:lnTo>
                    <a:pt x="17" y="610"/>
                  </a:lnTo>
                  <a:lnTo>
                    <a:pt x="12" y="594"/>
                  </a:lnTo>
                  <a:lnTo>
                    <a:pt x="9" y="578"/>
                  </a:lnTo>
                  <a:lnTo>
                    <a:pt x="5" y="560"/>
                  </a:lnTo>
                  <a:lnTo>
                    <a:pt x="3" y="542"/>
                  </a:lnTo>
                  <a:lnTo>
                    <a:pt x="1" y="523"/>
                  </a:lnTo>
                  <a:lnTo>
                    <a:pt x="0" y="504"/>
                  </a:lnTo>
                  <a:lnTo>
                    <a:pt x="0" y="484"/>
                  </a:lnTo>
                  <a:lnTo>
                    <a:pt x="0" y="462"/>
                  </a:lnTo>
                  <a:lnTo>
                    <a:pt x="1" y="440"/>
                  </a:lnTo>
                  <a:lnTo>
                    <a:pt x="3" y="417"/>
                  </a:lnTo>
                  <a:lnTo>
                    <a:pt x="6" y="395"/>
                  </a:lnTo>
                  <a:lnTo>
                    <a:pt x="9" y="374"/>
                  </a:lnTo>
                  <a:lnTo>
                    <a:pt x="13" y="352"/>
                  </a:lnTo>
                  <a:lnTo>
                    <a:pt x="18" y="331"/>
                  </a:lnTo>
                  <a:lnTo>
                    <a:pt x="24" y="309"/>
                  </a:lnTo>
                  <a:lnTo>
                    <a:pt x="30" y="289"/>
                  </a:lnTo>
                  <a:lnTo>
                    <a:pt x="38" y="268"/>
                  </a:lnTo>
                  <a:lnTo>
                    <a:pt x="45" y="248"/>
                  </a:lnTo>
                  <a:lnTo>
                    <a:pt x="54" y="228"/>
                  </a:lnTo>
                  <a:lnTo>
                    <a:pt x="64" y="209"/>
                  </a:lnTo>
                  <a:lnTo>
                    <a:pt x="74" y="190"/>
                  </a:lnTo>
                  <a:lnTo>
                    <a:pt x="85" y="172"/>
                  </a:lnTo>
                  <a:lnTo>
                    <a:pt x="97" y="154"/>
                  </a:lnTo>
                  <a:lnTo>
                    <a:pt x="110" y="137"/>
                  </a:lnTo>
                  <a:lnTo>
                    <a:pt x="123" y="121"/>
                  </a:lnTo>
                  <a:lnTo>
                    <a:pt x="137" y="105"/>
                  </a:lnTo>
                  <a:lnTo>
                    <a:pt x="152" y="91"/>
                  </a:lnTo>
                  <a:lnTo>
                    <a:pt x="167" y="77"/>
                  </a:lnTo>
                  <a:lnTo>
                    <a:pt x="183" y="65"/>
                  </a:lnTo>
                  <a:lnTo>
                    <a:pt x="200" y="53"/>
                  </a:lnTo>
                  <a:lnTo>
                    <a:pt x="218" y="42"/>
                  </a:lnTo>
                  <a:lnTo>
                    <a:pt x="236" y="33"/>
                  </a:lnTo>
                  <a:lnTo>
                    <a:pt x="256" y="24"/>
                  </a:lnTo>
                  <a:lnTo>
                    <a:pt x="275" y="17"/>
                  </a:lnTo>
                  <a:lnTo>
                    <a:pt x="296" y="11"/>
                  </a:lnTo>
                  <a:lnTo>
                    <a:pt x="318" y="6"/>
                  </a:lnTo>
                  <a:lnTo>
                    <a:pt x="340" y="3"/>
                  </a:lnTo>
                  <a:lnTo>
                    <a:pt x="363" y="1"/>
                  </a:lnTo>
                  <a:lnTo>
                    <a:pt x="388" y="0"/>
                  </a:lnTo>
                  <a:lnTo>
                    <a:pt x="410" y="1"/>
                  </a:lnTo>
                  <a:lnTo>
                    <a:pt x="432" y="3"/>
                  </a:lnTo>
                  <a:lnTo>
                    <a:pt x="454" y="6"/>
                  </a:lnTo>
                  <a:lnTo>
                    <a:pt x="475" y="11"/>
                  </a:lnTo>
                  <a:lnTo>
                    <a:pt x="495" y="17"/>
                  </a:lnTo>
                  <a:lnTo>
                    <a:pt x="514" y="25"/>
                  </a:lnTo>
                  <a:lnTo>
                    <a:pt x="532" y="34"/>
                  </a:lnTo>
                  <a:lnTo>
                    <a:pt x="549" y="45"/>
                  </a:lnTo>
                  <a:lnTo>
                    <a:pt x="557" y="51"/>
                  </a:lnTo>
                  <a:lnTo>
                    <a:pt x="565" y="58"/>
                  </a:lnTo>
                  <a:lnTo>
                    <a:pt x="572" y="64"/>
                  </a:lnTo>
                  <a:lnTo>
                    <a:pt x="579" y="72"/>
                  </a:lnTo>
                  <a:lnTo>
                    <a:pt x="585" y="79"/>
                  </a:lnTo>
                  <a:lnTo>
                    <a:pt x="591" y="87"/>
                  </a:lnTo>
                  <a:lnTo>
                    <a:pt x="596" y="96"/>
                  </a:lnTo>
                  <a:lnTo>
                    <a:pt x="601" y="105"/>
                  </a:lnTo>
                  <a:lnTo>
                    <a:pt x="606" y="114"/>
                  </a:lnTo>
                  <a:lnTo>
                    <a:pt x="609" y="124"/>
                  </a:lnTo>
                  <a:lnTo>
                    <a:pt x="613" y="135"/>
                  </a:lnTo>
                  <a:lnTo>
                    <a:pt x="616" y="145"/>
                  </a:lnTo>
                  <a:lnTo>
                    <a:pt x="618" y="156"/>
                  </a:lnTo>
                  <a:lnTo>
                    <a:pt x="619" y="169"/>
                  </a:lnTo>
                  <a:lnTo>
                    <a:pt x="620" y="181"/>
                  </a:lnTo>
                  <a:lnTo>
                    <a:pt x="621" y="194"/>
                  </a:lnTo>
                  <a:lnTo>
                    <a:pt x="621" y="207"/>
                  </a:lnTo>
                  <a:lnTo>
                    <a:pt x="620" y="222"/>
                  </a:lnTo>
                  <a:lnTo>
                    <a:pt x="619" y="229"/>
                  </a:lnTo>
                  <a:lnTo>
                    <a:pt x="617" y="237"/>
                  </a:lnTo>
                  <a:lnTo>
                    <a:pt x="615" y="244"/>
                  </a:lnTo>
                  <a:lnTo>
                    <a:pt x="613" y="25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  <a:cs typeface="+mn-cs"/>
              </a:endParaRPr>
            </a:p>
          </p:txBody>
        </p:sp>
        <p:sp>
          <p:nvSpPr>
            <p:cNvPr id="32" name="Freeform 28"/>
            <p:cNvSpPr>
              <a:spLocks noEditPoints="1"/>
            </p:cNvSpPr>
            <p:nvPr/>
          </p:nvSpPr>
          <p:spPr bwMode="gray">
            <a:xfrm>
              <a:off x="2586038" y="3751263"/>
              <a:ext cx="130175" cy="173037"/>
            </a:xfrm>
            <a:custGeom>
              <a:avLst/>
              <a:gdLst/>
              <a:ahLst/>
              <a:cxnLst>
                <a:cxn ang="0">
                  <a:pos x="491" y="229"/>
                </a:cxn>
                <a:cxn ang="0">
                  <a:pos x="487" y="239"/>
                </a:cxn>
                <a:cxn ang="0">
                  <a:pos x="169" y="226"/>
                </a:cxn>
                <a:cxn ang="0">
                  <a:pos x="195" y="181"/>
                </a:cxn>
                <a:cxn ang="0">
                  <a:pos x="226" y="142"/>
                </a:cxn>
                <a:cxn ang="0">
                  <a:pos x="263" y="113"/>
                </a:cxn>
                <a:cxn ang="0">
                  <a:pos x="309" y="95"/>
                </a:cxn>
                <a:cxn ang="0">
                  <a:pos x="363" y="88"/>
                </a:cxn>
                <a:cxn ang="0">
                  <a:pos x="402" y="93"/>
                </a:cxn>
                <a:cxn ang="0">
                  <a:pos x="436" y="107"/>
                </a:cxn>
                <a:cxn ang="0">
                  <a:pos x="463" y="130"/>
                </a:cxn>
                <a:cxn ang="0">
                  <a:pos x="482" y="159"/>
                </a:cxn>
                <a:cxn ang="0">
                  <a:pos x="491" y="197"/>
                </a:cxn>
                <a:cxn ang="0">
                  <a:pos x="605" y="205"/>
                </a:cxn>
                <a:cxn ang="0">
                  <a:pos x="601" y="169"/>
                </a:cxn>
                <a:cxn ang="0">
                  <a:pos x="591" y="136"/>
                </a:cxn>
                <a:cxn ang="0">
                  <a:pos x="577" y="106"/>
                </a:cxn>
                <a:cxn ang="0">
                  <a:pos x="558" y="80"/>
                </a:cxn>
                <a:cxn ang="0">
                  <a:pos x="535" y="57"/>
                </a:cxn>
                <a:cxn ang="0">
                  <a:pos x="509" y="38"/>
                </a:cxn>
                <a:cxn ang="0">
                  <a:pos x="459" y="15"/>
                </a:cxn>
                <a:cxn ang="0">
                  <a:pos x="389" y="1"/>
                </a:cxn>
                <a:cxn ang="0">
                  <a:pos x="317" y="3"/>
                </a:cxn>
                <a:cxn ang="0">
                  <a:pos x="253" y="18"/>
                </a:cxn>
                <a:cxn ang="0">
                  <a:pos x="197" y="44"/>
                </a:cxn>
                <a:cxn ang="0">
                  <a:pos x="149" y="79"/>
                </a:cxn>
                <a:cxn ang="0">
                  <a:pos x="108" y="123"/>
                </a:cxn>
                <a:cxn ang="0">
                  <a:pos x="74" y="175"/>
                </a:cxn>
                <a:cxn ang="0">
                  <a:pos x="47" y="232"/>
                </a:cxn>
                <a:cxn ang="0">
                  <a:pos x="27" y="292"/>
                </a:cxn>
                <a:cxn ang="0">
                  <a:pos x="12" y="355"/>
                </a:cxn>
                <a:cxn ang="0">
                  <a:pos x="3" y="419"/>
                </a:cxn>
                <a:cxn ang="0">
                  <a:pos x="0" y="484"/>
                </a:cxn>
                <a:cxn ang="0">
                  <a:pos x="3" y="542"/>
                </a:cxn>
                <a:cxn ang="0">
                  <a:pos x="12" y="594"/>
                </a:cxn>
                <a:cxn ang="0">
                  <a:pos x="27" y="641"/>
                </a:cxn>
                <a:cxn ang="0">
                  <a:pos x="47" y="681"/>
                </a:cxn>
                <a:cxn ang="0">
                  <a:pos x="73" y="716"/>
                </a:cxn>
                <a:cxn ang="0">
                  <a:pos x="105" y="746"/>
                </a:cxn>
                <a:cxn ang="0">
                  <a:pos x="142" y="769"/>
                </a:cxn>
                <a:cxn ang="0">
                  <a:pos x="184" y="787"/>
                </a:cxn>
                <a:cxn ang="0">
                  <a:pos x="231" y="799"/>
                </a:cxn>
                <a:cxn ang="0">
                  <a:pos x="284" y="805"/>
                </a:cxn>
                <a:cxn ang="0">
                  <a:pos x="344" y="806"/>
                </a:cxn>
                <a:cxn ang="0">
                  <a:pos x="407" y="800"/>
                </a:cxn>
                <a:cxn ang="0">
                  <a:pos x="465" y="788"/>
                </a:cxn>
                <a:cxn ang="0">
                  <a:pos x="477" y="699"/>
                </a:cxn>
                <a:cxn ang="0">
                  <a:pos x="411" y="708"/>
                </a:cxn>
                <a:cxn ang="0">
                  <a:pos x="363" y="709"/>
                </a:cxn>
                <a:cxn ang="0">
                  <a:pos x="318" y="705"/>
                </a:cxn>
                <a:cxn ang="0">
                  <a:pos x="277" y="697"/>
                </a:cxn>
                <a:cxn ang="0">
                  <a:pos x="242" y="685"/>
                </a:cxn>
                <a:cxn ang="0">
                  <a:pos x="213" y="668"/>
                </a:cxn>
                <a:cxn ang="0">
                  <a:pos x="188" y="647"/>
                </a:cxn>
                <a:cxn ang="0">
                  <a:pos x="167" y="621"/>
                </a:cxn>
                <a:cxn ang="0">
                  <a:pos x="151" y="590"/>
                </a:cxn>
                <a:cxn ang="0">
                  <a:pos x="140" y="554"/>
                </a:cxn>
                <a:cxn ang="0">
                  <a:pos x="133" y="514"/>
                </a:cxn>
                <a:cxn ang="0">
                  <a:pos x="130" y="436"/>
                </a:cxn>
                <a:cxn ang="0">
                  <a:pos x="134" y="391"/>
                </a:cxn>
                <a:cxn ang="0">
                  <a:pos x="589" y="330"/>
                </a:cxn>
                <a:cxn ang="0">
                  <a:pos x="602" y="263"/>
                </a:cxn>
                <a:cxn ang="0">
                  <a:pos x="605" y="218"/>
                </a:cxn>
              </a:cxnLst>
              <a:rect l="0" t="0" r="r" b="b"/>
              <a:pathLst>
                <a:path w="605" h="806">
                  <a:moveTo>
                    <a:pt x="492" y="210"/>
                  </a:moveTo>
                  <a:lnTo>
                    <a:pt x="492" y="221"/>
                  </a:lnTo>
                  <a:lnTo>
                    <a:pt x="491" y="229"/>
                  </a:lnTo>
                  <a:lnTo>
                    <a:pt x="490" y="233"/>
                  </a:lnTo>
                  <a:lnTo>
                    <a:pt x="489" y="236"/>
                  </a:lnTo>
                  <a:lnTo>
                    <a:pt x="487" y="239"/>
                  </a:lnTo>
                  <a:lnTo>
                    <a:pt x="484" y="242"/>
                  </a:lnTo>
                  <a:lnTo>
                    <a:pt x="162" y="242"/>
                  </a:lnTo>
                  <a:lnTo>
                    <a:pt x="169" y="226"/>
                  </a:lnTo>
                  <a:lnTo>
                    <a:pt x="177" y="210"/>
                  </a:lnTo>
                  <a:lnTo>
                    <a:pt x="186" y="195"/>
                  </a:lnTo>
                  <a:lnTo>
                    <a:pt x="195" y="181"/>
                  </a:lnTo>
                  <a:lnTo>
                    <a:pt x="205" y="167"/>
                  </a:lnTo>
                  <a:lnTo>
                    <a:pt x="215" y="154"/>
                  </a:lnTo>
                  <a:lnTo>
                    <a:pt x="226" y="142"/>
                  </a:lnTo>
                  <a:lnTo>
                    <a:pt x="238" y="131"/>
                  </a:lnTo>
                  <a:lnTo>
                    <a:pt x="250" y="122"/>
                  </a:lnTo>
                  <a:lnTo>
                    <a:pt x="263" y="113"/>
                  </a:lnTo>
                  <a:lnTo>
                    <a:pt x="278" y="106"/>
                  </a:lnTo>
                  <a:lnTo>
                    <a:pt x="294" y="100"/>
                  </a:lnTo>
                  <a:lnTo>
                    <a:pt x="309" y="95"/>
                  </a:lnTo>
                  <a:lnTo>
                    <a:pt x="326" y="91"/>
                  </a:lnTo>
                  <a:lnTo>
                    <a:pt x="344" y="89"/>
                  </a:lnTo>
                  <a:lnTo>
                    <a:pt x="363" y="88"/>
                  </a:lnTo>
                  <a:lnTo>
                    <a:pt x="377" y="89"/>
                  </a:lnTo>
                  <a:lnTo>
                    <a:pt x="390" y="90"/>
                  </a:lnTo>
                  <a:lnTo>
                    <a:pt x="402" y="93"/>
                  </a:lnTo>
                  <a:lnTo>
                    <a:pt x="414" y="97"/>
                  </a:lnTo>
                  <a:lnTo>
                    <a:pt x="425" y="102"/>
                  </a:lnTo>
                  <a:lnTo>
                    <a:pt x="436" y="107"/>
                  </a:lnTo>
                  <a:lnTo>
                    <a:pt x="446" y="114"/>
                  </a:lnTo>
                  <a:lnTo>
                    <a:pt x="455" y="121"/>
                  </a:lnTo>
                  <a:lnTo>
                    <a:pt x="463" y="130"/>
                  </a:lnTo>
                  <a:lnTo>
                    <a:pt x="470" y="139"/>
                  </a:lnTo>
                  <a:lnTo>
                    <a:pt x="477" y="149"/>
                  </a:lnTo>
                  <a:lnTo>
                    <a:pt x="482" y="159"/>
                  </a:lnTo>
                  <a:lnTo>
                    <a:pt x="486" y="172"/>
                  </a:lnTo>
                  <a:lnTo>
                    <a:pt x="489" y="184"/>
                  </a:lnTo>
                  <a:lnTo>
                    <a:pt x="491" y="197"/>
                  </a:lnTo>
                  <a:lnTo>
                    <a:pt x="492" y="210"/>
                  </a:lnTo>
                  <a:close/>
                  <a:moveTo>
                    <a:pt x="605" y="218"/>
                  </a:moveTo>
                  <a:lnTo>
                    <a:pt x="605" y="205"/>
                  </a:lnTo>
                  <a:lnTo>
                    <a:pt x="604" y="193"/>
                  </a:lnTo>
                  <a:lnTo>
                    <a:pt x="603" y="181"/>
                  </a:lnTo>
                  <a:lnTo>
                    <a:pt x="601" y="169"/>
                  </a:lnTo>
                  <a:lnTo>
                    <a:pt x="598" y="157"/>
                  </a:lnTo>
                  <a:lnTo>
                    <a:pt x="595" y="146"/>
                  </a:lnTo>
                  <a:lnTo>
                    <a:pt x="591" y="136"/>
                  </a:lnTo>
                  <a:lnTo>
                    <a:pt x="587" y="125"/>
                  </a:lnTo>
                  <a:lnTo>
                    <a:pt x="582" y="116"/>
                  </a:lnTo>
                  <a:lnTo>
                    <a:pt x="577" y="106"/>
                  </a:lnTo>
                  <a:lnTo>
                    <a:pt x="571" y="97"/>
                  </a:lnTo>
                  <a:lnTo>
                    <a:pt x="565" y="88"/>
                  </a:lnTo>
                  <a:lnTo>
                    <a:pt x="558" y="80"/>
                  </a:lnTo>
                  <a:lnTo>
                    <a:pt x="551" y="72"/>
                  </a:lnTo>
                  <a:lnTo>
                    <a:pt x="543" y="64"/>
                  </a:lnTo>
                  <a:lnTo>
                    <a:pt x="535" y="57"/>
                  </a:lnTo>
                  <a:lnTo>
                    <a:pt x="527" y="50"/>
                  </a:lnTo>
                  <a:lnTo>
                    <a:pt x="518" y="44"/>
                  </a:lnTo>
                  <a:lnTo>
                    <a:pt x="509" y="38"/>
                  </a:lnTo>
                  <a:lnTo>
                    <a:pt x="500" y="33"/>
                  </a:lnTo>
                  <a:lnTo>
                    <a:pt x="480" y="23"/>
                  </a:lnTo>
                  <a:lnTo>
                    <a:pt x="459" y="15"/>
                  </a:lnTo>
                  <a:lnTo>
                    <a:pt x="436" y="8"/>
                  </a:lnTo>
                  <a:lnTo>
                    <a:pt x="413" y="4"/>
                  </a:lnTo>
                  <a:lnTo>
                    <a:pt x="389" y="1"/>
                  </a:lnTo>
                  <a:lnTo>
                    <a:pt x="363" y="0"/>
                  </a:lnTo>
                  <a:lnTo>
                    <a:pt x="340" y="1"/>
                  </a:lnTo>
                  <a:lnTo>
                    <a:pt x="317" y="3"/>
                  </a:lnTo>
                  <a:lnTo>
                    <a:pt x="295" y="6"/>
                  </a:lnTo>
                  <a:lnTo>
                    <a:pt x="273" y="11"/>
                  </a:lnTo>
                  <a:lnTo>
                    <a:pt x="253" y="18"/>
                  </a:lnTo>
                  <a:lnTo>
                    <a:pt x="233" y="25"/>
                  </a:lnTo>
                  <a:lnTo>
                    <a:pt x="215" y="34"/>
                  </a:lnTo>
                  <a:lnTo>
                    <a:pt x="197" y="44"/>
                  </a:lnTo>
                  <a:lnTo>
                    <a:pt x="181" y="55"/>
                  </a:lnTo>
                  <a:lnTo>
                    <a:pt x="165" y="66"/>
                  </a:lnTo>
                  <a:lnTo>
                    <a:pt x="149" y="79"/>
                  </a:lnTo>
                  <a:lnTo>
                    <a:pt x="135" y="93"/>
                  </a:lnTo>
                  <a:lnTo>
                    <a:pt x="121" y="108"/>
                  </a:lnTo>
                  <a:lnTo>
                    <a:pt x="108" y="123"/>
                  </a:lnTo>
                  <a:lnTo>
                    <a:pt x="96" y="140"/>
                  </a:lnTo>
                  <a:lnTo>
                    <a:pt x="85" y="157"/>
                  </a:lnTo>
                  <a:lnTo>
                    <a:pt x="74" y="175"/>
                  </a:lnTo>
                  <a:lnTo>
                    <a:pt x="65" y="193"/>
                  </a:lnTo>
                  <a:lnTo>
                    <a:pt x="56" y="212"/>
                  </a:lnTo>
                  <a:lnTo>
                    <a:pt x="47" y="232"/>
                  </a:lnTo>
                  <a:lnTo>
                    <a:pt x="40" y="251"/>
                  </a:lnTo>
                  <a:lnTo>
                    <a:pt x="33" y="272"/>
                  </a:lnTo>
                  <a:lnTo>
                    <a:pt x="27" y="292"/>
                  </a:lnTo>
                  <a:lnTo>
                    <a:pt x="21" y="313"/>
                  </a:lnTo>
                  <a:lnTo>
                    <a:pt x="16" y="334"/>
                  </a:lnTo>
                  <a:lnTo>
                    <a:pt x="12" y="355"/>
                  </a:lnTo>
                  <a:lnTo>
                    <a:pt x="8" y="376"/>
                  </a:lnTo>
                  <a:lnTo>
                    <a:pt x="5" y="398"/>
                  </a:lnTo>
                  <a:lnTo>
                    <a:pt x="3" y="419"/>
                  </a:lnTo>
                  <a:lnTo>
                    <a:pt x="1" y="442"/>
                  </a:lnTo>
                  <a:lnTo>
                    <a:pt x="0" y="463"/>
                  </a:lnTo>
                  <a:lnTo>
                    <a:pt x="0" y="484"/>
                  </a:lnTo>
                  <a:lnTo>
                    <a:pt x="0" y="504"/>
                  </a:lnTo>
                  <a:lnTo>
                    <a:pt x="1" y="523"/>
                  </a:lnTo>
                  <a:lnTo>
                    <a:pt x="3" y="542"/>
                  </a:lnTo>
                  <a:lnTo>
                    <a:pt x="5" y="560"/>
                  </a:lnTo>
                  <a:lnTo>
                    <a:pt x="8" y="578"/>
                  </a:lnTo>
                  <a:lnTo>
                    <a:pt x="12" y="594"/>
                  </a:lnTo>
                  <a:lnTo>
                    <a:pt x="17" y="610"/>
                  </a:lnTo>
                  <a:lnTo>
                    <a:pt x="22" y="626"/>
                  </a:lnTo>
                  <a:lnTo>
                    <a:pt x="27" y="641"/>
                  </a:lnTo>
                  <a:lnTo>
                    <a:pt x="33" y="655"/>
                  </a:lnTo>
                  <a:lnTo>
                    <a:pt x="40" y="668"/>
                  </a:lnTo>
                  <a:lnTo>
                    <a:pt x="47" y="681"/>
                  </a:lnTo>
                  <a:lnTo>
                    <a:pt x="55" y="693"/>
                  </a:lnTo>
                  <a:lnTo>
                    <a:pt x="64" y="705"/>
                  </a:lnTo>
                  <a:lnTo>
                    <a:pt x="73" y="716"/>
                  </a:lnTo>
                  <a:lnTo>
                    <a:pt x="83" y="727"/>
                  </a:lnTo>
                  <a:lnTo>
                    <a:pt x="94" y="737"/>
                  </a:lnTo>
                  <a:lnTo>
                    <a:pt x="105" y="746"/>
                  </a:lnTo>
                  <a:lnTo>
                    <a:pt x="116" y="754"/>
                  </a:lnTo>
                  <a:lnTo>
                    <a:pt x="129" y="762"/>
                  </a:lnTo>
                  <a:lnTo>
                    <a:pt x="142" y="769"/>
                  </a:lnTo>
                  <a:lnTo>
                    <a:pt x="155" y="776"/>
                  </a:lnTo>
                  <a:lnTo>
                    <a:pt x="169" y="782"/>
                  </a:lnTo>
                  <a:lnTo>
                    <a:pt x="184" y="787"/>
                  </a:lnTo>
                  <a:lnTo>
                    <a:pt x="199" y="791"/>
                  </a:lnTo>
                  <a:lnTo>
                    <a:pt x="215" y="795"/>
                  </a:lnTo>
                  <a:lnTo>
                    <a:pt x="231" y="799"/>
                  </a:lnTo>
                  <a:lnTo>
                    <a:pt x="248" y="802"/>
                  </a:lnTo>
                  <a:lnTo>
                    <a:pt x="266" y="804"/>
                  </a:lnTo>
                  <a:lnTo>
                    <a:pt x="284" y="805"/>
                  </a:lnTo>
                  <a:lnTo>
                    <a:pt x="304" y="806"/>
                  </a:lnTo>
                  <a:lnTo>
                    <a:pt x="323" y="806"/>
                  </a:lnTo>
                  <a:lnTo>
                    <a:pt x="344" y="806"/>
                  </a:lnTo>
                  <a:lnTo>
                    <a:pt x="365" y="805"/>
                  </a:lnTo>
                  <a:lnTo>
                    <a:pt x="386" y="803"/>
                  </a:lnTo>
                  <a:lnTo>
                    <a:pt x="407" y="800"/>
                  </a:lnTo>
                  <a:lnTo>
                    <a:pt x="427" y="797"/>
                  </a:lnTo>
                  <a:lnTo>
                    <a:pt x="446" y="793"/>
                  </a:lnTo>
                  <a:lnTo>
                    <a:pt x="465" y="788"/>
                  </a:lnTo>
                  <a:lnTo>
                    <a:pt x="484" y="782"/>
                  </a:lnTo>
                  <a:lnTo>
                    <a:pt x="508" y="693"/>
                  </a:lnTo>
                  <a:lnTo>
                    <a:pt x="477" y="699"/>
                  </a:lnTo>
                  <a:lnTo>
                    <a:pt x="444" y="704"/>
                  </a:lnTo>
                  <a:lnTo>
                    <a:pt x="427" y="706"/>
                  </a:lnTo>
                  <a:lnTo>
                    <a:pt x="411" y="708"/>
                  </a:lnTo>
                  <a:lnTo>
                    <a:pt x="395" y="709"/>
                  </a:lnTo>
                  <a:lnTo>
                    <a:pt x="379" y="709"/>
                  </a:lnTo>
                  <a:lnTo>
                    <a:pt x="363" y="709"/>
                  </a:lnTo>
                  <a:lnTo>
                    <a:pt x="347" y="708"/>
                  </a:lnTo>
                  <a:lnTo>
                    <a:pt x="332" y="707"/>
                  </a:lnTo>
                  <a:lnTo>
                    <a:pt x="318" y="705"/>
                  </a:lnTo>
                  <a:lnTo>
                    <a:pt x="304" y="703"/>
                  </a:lnTo>
                  <a:lnTo>
                    <a:pt x="291" y="701"/>
                  </a:lnTo>
                  <a:lnTo>
                    <a:pt x="277" y="697"/>
                  </a:lnTo>
                  <a:lnTo>
                    <a:pt x="265" y="694"/>
                  </a:lnTo>
                  <a:lnTo>
                    <a:pt x="253" y="690"/>
                  </a:lnTo>
                  <a:lnTo>
                    <a:pt x="242" y="685"/>
                  </a:lnTo>
                  <a:lnTo>
                    <a:pt x="232" y="680"/>
                  </a:lnTo>
                  <a:lnTo>
                    <a:pt x="222" y="674"/>
                  </a:lnTo>
                  <a:lnTo>
                    <a:pt x="213" y="668"/>
                  </a:lnTo>
                  <a:lnTo>
                    <a:pt x="204" y="662"/>
                  </a:lnTo>
                  <a:lnTo>
                    <a:pt x="195" y="654"/>
                  </a:lnTo>
                  <a:lnTo>
                    <a:pt x="188" y="647"/>
                  </a:lnTo>
                  <a:lnTo>
                    <a:pt x="180" y="639"/>
                  </a:lnTo>
                  <a:lnTo>
                    <a:pt x="174" y="630"/>
                  </a:lnTo>
                  <a:lnTo>
                    <a:pt x="167" y="621"/>
                  </a:lnTo>
                  <a:lnTo>
                    <a:pt x="162" y="611"/>
                  </a:lnTo>
                  <a:lnTo>
                    <a:pt x="156" y="601"/>
                  </a:lnTo>
                  <a:lnTo>
                    <a:pt x="151" y="590"/>
                  </a:lnTo>
                  <a:lnTo>
                    <a:pt x="147" y="579"/>
                  </a:lnTo>
                  <a:lnTo>
                    <a:pt x="143" y="567"/>
                  </a:lnTo>
                  <a:lnTo>
                    <a:pt x="140" y="554"/>
                  </a:lnTo>
                  <a:lnTo>
                    <a:pt x="137" y="541"/>
                  </a:lnTo>
                  <a:lnTo>
                    <a:pt x="135" y="528"/>
                  </a:lnTo>
                  <a:lnTo>
                    <a:pt x="133" y="514"/>
                  </a:lnTo>
                  <a:lnTo>
                    <a:pt x="130" y="484"/>
                  </a:lnTo>
                  <a:lnTo>
                    <a:pt x="129" y="452"/>
                  </a:lnTo>
                  <a:lnTo>
                    <a:pt x="130" y="436"/>
                  </a:lnTo>
                  <a:lnTo>
                    <a:pt x="131" y="421"/>
                  </a:lnTo>
                  <a:lnTo>
                    <a:pt x="132" y="406"/>
                  </a:lnTo>
                  <a:lnTo>
                    <a:pt x="134" y="391"/>
                  </a:lnTo>
                  <a:lnTo>
                    <a:pt x="139" y="361"/>
                  </a:lnTo>
                  <a:lnTo>
                    <a:pt x="145" y="330"/>
                  </a:lnTo>
                  <a:lnTo>
                    <a:pt x="589" y="330"/>
                  </a:lnTo>
                  <a:lnTo>
                    <a:pt x="595" y="305"/>
                  </a:lnTo>
                  <a:lnTo>
                    <a:pt x="600" y="277"/>
                  </a:lnTo>
                  <a:lnTo>
                    <a:pt x="602" y="263"/>
                  </a:lnTo>
                  <a:lnTo>
                    <a:pt x="604" y="248"/>
                  </a:lnTo>
                  <a:lnTo>
                    <a:pt x="605" y="233"/>
                  </a:lnTo>
                  <a:lnTo>
                    <a:pt x="605" y="21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  <a:cs typeface="+mn-cs"/>
              </a:endParaRPr>
            </a:p>
          </p:txBody>
        </p:sp>
        <p:sp>
          <p:nvSpPr>
            <p:cNvPr id="33" name="Freeform 29"/>
            <p:cNvSpPr>
              <a:spLocks/>
            </p:cNvSpPr>
            <p:nvPr/>
          </p:nvSpPr>
          <p:spPr bwMode="gray">
            <a:xfrm>
              <a:off x="2716213" y="3887788"/>
              <a:ext cx="41275" cy="33337"/>
            </a:xfrm>
            <a:custGeom>
              <a:avLst/>
              <a:gdLst/>
              <a:ahLst/>
              <a:cxnLst>
                <a:cxn ang="0">
                  <a:pos x="161" y="161"/>
                </a:cxn>
                <a:cxn ang="0">
                  <a:pos x="0" y="161"/>
                </a:cxn>
                <a:cxn ang="0">
                  <a:pos x="33" y="0"/>
                </a:cxn>
                <a:cxn ang="0">
                  <a:pos x="193" y="0"/>
                </a:cxn>
                <a:cxn ang="0">
                  <a:pos x="161" y="161"/>
                </a:cxn>
              </a:cxnLst>
              <a:rect l="0" t="0" r="r" b="b"/>
              <a:pathLst>
                <a:path w="193" h="161">
                  <a:moveTo>
                    <a:pt x="161" y="161"/>
                  </a:moveTo>
                  <a:lnTo>
                    <a:pt x="0" y="161"/>
                  </a:lnTo>
                  <a:lnTo>
                    <a:pt x="33" y="0"/>
                  </a:lnTo>
                  <a:lnTo>
                    <a:pt x="193" y="0"/>
                  </a:lnTo>
                  <a:lnTo>
                    <a:pt x="161" y="16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  <a:cs typeface="+mn-cs"/>
              </a:endParaRPr>
            </a:p>
          </p:txBody>
        </p:sp>
        <p:sp>
          <p:nvSpPr>
            <p:cNvPr id="34" name="Freeform 30"/>
            <p:cNvSpPr>
              <a:spLocks noEditPoints="1"/>
            </p:cNvSpPr>
            <p:nvPr/>
          </p:nvSpPr>
          <p:spPr bwMode="gray">
            <a:xfrm>
              <a:off x="2819400" y="3679825"/>
              <a:ext cx="180975" cy="241300"/>
            </a:xfrm>
            <a:custGeom>
              <a:avLst/>
              <a:gdLst/>
              <a:ahLst/>
              <a:cxnLst>
                <a:cxn ang="0">
                  <a:pos x="698" y="475"/>
                </a:cxn>
                <a:cxn ang="0">
                  <a:pos x="688" y="557"/>
                </a:cxn>
                <a:cxn ang="0">
                  <a:pos x="673" y="639"/>
                </a:cxn>
                <a:cxn ang="0">
                  <a:pos x="651" y="718"/>
                </a:cxn>
                <a:cxn ang="0">
                  <a:pos x="620" y="794"/>
                </a:cxn>
                <a:cxn ang="0">
                  <a:pos x="580" y="862"/>
                </a:cxn>
                <a:cxn ang="0">
                  <a:pos x="532" y="920"/>
                </a:cxn>
                <a:cxn ang="0">
                  <a:pos x="473" y="967"/>
                </a:cxn>
                <a:cxn ang="0">
                  <a:pos x="403" y="999"/>
                </a:cxn>
                <a:cxn ang="0">
                  <a:pos x="321" y="1015"/>
                </a:cxn>
                <a:cxn ang="0">
                  <a:pos x="323" y="105"/>
                </a:cxn>
                <a:cxn ang="0">
                  <a:pos x="479" y="108"/>
                </a:cxn>
                <a:cxn ang="0">
                  <a:pos x="524" y="115"/>
                </a:cxn>
                <a:cxn ang="0">
                  <a:pos x="564" y="126"/>
                </a:cxn>
                <a:cxn ang="0">
                  <a:pos x="600" y="142"/>
                </a:cxn>
                <a:cxn ang="0">
                  <a:pos x="629" y="162"/>
                </a:cxn>
                <a:cxn ang="0">
                  <a:pos x="654" y="188"/>
                </a:cxn>
                <a:cxn ang="0">
                  <a:pos x="674" y="221"/>
                </a:cxn>
                <a:cxn ang="0">
                  <a:pos x="688" y="258"/>
                </a:cxn>
                <a:cxn ang="0">
                  <a:pos x="697" y="302"/>
                </a:cxn>
                <a:cxn ang="0">
                  <a:pos x="702" y="353"/>
                </a:cxn>
                <a:cxn ang="0">
                  <a:pos x="838" y="348"/>
                </a:cxn>
                <a:cxn ang="0">
                  <a:pos x="833" y="284"/>
                </a:cxn>
                <a:cxn ang="0">
                  <a:pos x="821" y="226"/>
                </a:cxn>
                <a:cxn ang="0">
                  <a:pos x="803" y="174"/>
                </a:cxn>
                <a:cxn ang="0">
                  <a:pos x="778" y="130"/>
                </a:cxn>
                <a:cxn ang="0">
                  <a:pos x="747" y="92"/>
                </a:cxn>
                <a:cxn ang="0">
                  <a:pos x="709" y="61"/>
                </a:cxn>
                <a:cxn ang="0">
                  <a:pos x="665" y="36"/>
                </a:cxn>
                <a:cxn ang="0">
                  <a:pos x="614" y="18"/>
                </a:cxn>
                <a:cxn ang="0">
                  <a:pos x="555" y="6"/>
                </a:cxn>
                <a:cxn ang="0">
                  <a:pos x="491" y="1"/>
                </a:cxn>
                <a:cxn ang="0">
                  <a:pos x="0" y="1121"/>
                </a:cxn>
                <a:cxn ang="0">
                  <a:pos x="345" y="1117"/>
                </a:cxn>
                <a:cxn ang="0">
                  <a:pos x="449" y="1095"/>
                </a:cxn>
                <a:cxn ang="0">
                  <a:pos x="539" y="1057"/>
                </a:cxn>
                <a:cxn ang="0">
                  <a:pos x="616" y="1002"/>
                </a:cxn>
                <a:cxn ang="0">
                  <a:pos x="680" y="936"/>
                </a:cxn>
                <a:cxn ang="0">
                  <a:pos x="732" y="859"/>
                </a:cxn>
                <a:cxn ang="0">
                  <a:pos x="772" y="772"/>
                </a:cxn>
                <a:cxn ang="0">
                  <a:pos x="802" y="677"/>
                </a:cxn>
                <a:cxn ang="0">
                  <a:pos x="823" y="578"/>
                </a:cxn>
                <a:cxn ang="0">
                  <a:pos x="835" y="475"/>
                </a:cxn>
                <a:cxn ang="0">
                  <a:pos x="838" y="371"/>
                </a:cxn>
              </a:cxnLst>
              <a:rect l="0" t="0" r="r" b="b"/>
              <a:pathLst>
                <a:path w="838" h="1121">
                  <a:moveTo>
                    <a:pt x="702" y="371"/>
                  </a:moveTo>
                  <a:lnTo>
                    <a:pt x="701" y="422"/>
                  </a:lnTo>
                  <a:lnTo>
                    <a:pt x="698" y="475"/>
                  </a:lnTo>
                  <a:lnTo>
                    <a:pt x="695" y="503"/>
                  </a:lnTo>
                  <a:lnTo>
                    <a:pt x="692" y="530"/>
                  </a:lnTo>
                  <a:lnTo>
                    <a:pt x="688" y="557"/>
                  </a:lnTo>
                  <a:lnTo>
                    <a:pt x="684" y="584"/>
                  </a:lnTo>
                  <a:lnTo>
                    <a:pt x="679" y="612"/>
                  </a:lnTo>
                  <a:lnTo>
                    <a:pt x="673" y="639"/>
                  </a:lnTo>
                  <a:lnTo>
                    <a:pt x="666" y="666"/>
                  </a:lnTo>
                  <a:lnTo>
                    <a:pt x="659" y="692"/>
                  </a:lnTo>
                  <a:lnTo>
                    <a:pt x="651" y="718"/>
                  </a:lnTo>
                  <a:lnTo>
                    <a:pt x="641" y="744"/>
                  </a:lnTo>
                  <a:lnTo>
                    <a:pt x="631" y="769"/>
                  </a:lnTo>
                  <a:lnTo>
                    <a:pt x="620" y="794"/>
                  </a:lnTo>
                  <a:lnTo>
                    <a:pt x="608" y="818"/>
                  </a:lnTo>
                  <a:lnTo>
                    <a:pt x="595" y="840"/>
                  </a:lnTo>
                  <a:lnTo>
                    <a:pt x="580" y="862"/>
                  </a:lnTo>
                  <a:lnTo>
                    <a:pt x="565" y="882"/>
                  </a:lnTo>
                  <a:lnTo>
                    <a:pt x="549" y="902"/>
                  </a:lnTo>
                  <a:lnTo>
                    <a:pt x="532" y="920"/>
                  </a:lnTo>
                  <a:lnTo>
                    <a:pt x="514" y="937"/>
                  </a:lnTo>
                  <a:lnTo>
                    <a:pt x="494" y="953"/>
                  </a:lnTo>
                  <a:lnTo>
                    <a:pt x="473" y="967"/>
                  </a:lnTo>
                  <a:lnTo>
                    <a:pt x="451" y="979"/>
                  </a:lnTo>
                  <a:lnTo>
                    <a:pt x="428" y="990"/>
                  </a:lnTo>
                  <a:lnTo>
                    <a:pt x="403" y="999"/>
                  </a:lnTo>
                  <a:lnTo>
                    <a:pt x="377" y="1006"/>
                  </a:lnTo>
                  <a:lnTo>
                    <a:pt x="350" y="1012"/>
                  </a:lnTo>
                  <a:lnTo>
                    <a:pt x="321" y="1015"/>
                  </a:lnTo>
                  <a:lnTo>
                    <a:pt x="290" y="1016"/>
                  </a:lnTo>
                  <a:lnTo>
                    <a:pt x="145" y="1016"/>
                  </a:lnTo>
                  <a:lnTo>
                    <a:pt x="323" y="105"/>
                  </a:lnTo>
                  <a:lnTo>
                    <a:pt x="412" y="105"/>
                  </a:lnTo>
                  <a:lnTo>
                    <a:pt x="447" y="106"/>
                  </a:lnTo>
                  <a:lnTo>
                    <a:pt x="479" y="108"/>
                  </a:lnTo>
                  <a:lnTo>
                    <a:pt x="495" y="110"/>
                  </a:lnTo>
                  <a:lnTo>
                    <a:pt x="510" y="112"/>
                  </a:lnTo>
                  <a:lnTo>
                    <a:pt x="524" y="115"/>
                  </a:lnTo>
                  <a:lnTo>
                    <a:pt x="538" y="118"/>
                  </a:lnTo>
                  <a:lnTo>
                    <a:pt x="551" y="122"/>
                  </a:lnTo>
                  <a:lnTo>
                    <a:pt x="564" y="126"/>
                  </a:lnTo>
                  <a:lnTo>
                    <a:pt x="576" y="131"/>
                  </a:lnTo>
                  <a:lnTo>
                    <a:pt x="589" y="136"/>
                  </a:lnTo>
                  <a:lnTo>
                    <a:pt x="600" y="142"/>
                  </a:lnTo>
                  <a:lnTo>
                    <a:pt x="610" y="148"/>
                  </a:lnTo>
                  <a:lnTo>
                    <a:pt x="620" y="155"/>
                  </a:lnTo>
                  <a:lnTo>
                    <a:pt x="629" y="162"/>
                  </a:lnTo>
                  <a:lnTo>
                    <a:pt x="638" y="170"/>
                  </a:lnTo>
                  <a:lnTo>
                    <a:pt x="646" y="179"/>
                  </a:lnTo>
                  <a:lnTo>
                    <a:pt x="654" y="188"/>
                  </a:lnTo>
                  <a:lnTo>
                    <a:pt x="661" y="198"/>
                  </a:lnTo>
                  <a:lnTo>
                    <a:pt x="668" y="208"/>
                  </a:lnTo>
                  <a:lnTo>
                    <a:pt x="674" y="221"/>
                  </a:lnTo>
                  <a:lnTo>
                    <a:pt x="679" y="232"/>
                  </a:lnTo>
                  <a:lnTo>
                    <a:pt x="684" y="245"/>
                  </a:lnTo>
                  <a:lnTo>
                    <a:pt x="688" y="258"/>
                  </a:lnTo>
                  <a:lnTo>
                    <a:pt x="692" y="272"/>
                  </a:lnTo>
                  <a:lnTo>
                    <a:pt x="695" y="287"/>
                  </a:lnTo>
                  <a:lnTo>
                    <a:pt x="697" y="302"/>
                  </a:lnTo>
                  <a:lnTo>
                    <a:pt x="699" y="318"/>
                  </a:lnTo>
                  <a:lnTo>
                    <a:pt x="701" y="335"/>
                  </a:lnTo>
                  <a:lnTo>
                    <a:pt x="702" y="353"/>
                  </a:lnTo>
                  <a:lnTo>
                    <a:pt x="702" y="371"/>
                  </a:lnTo>
                  <a:close/>
                  <a:moveTo>
                    <a:pt x="838" y="371"/>
                  </a:moveTo>
                  <a:lnTo>
                    <a:pt x="838" y="348"/>
                  </a:lnTo>
                  <a:lnTo>
                    <a:pt x="837" y="326"/>
                  </a:lnTo>
                  <a:lnTo>
                    <a:pt x="835" y="304"/>
                  </a:lnTo>
                  <a:lnTo>
                    <a:pt x="833" y="284"/>
                  </a:lnTo>
                  <a:lnTo>
                    <a:pt x="830" y="264"/>
                  </a:lnTo>
                  <a:lnTo>
                    <a:pt x="826" y="244"/>
                  </a:lnTo>
                  <a:lnTo>
                    <a:pt x="821" y="226"/>
                  </a:lnTo>
                  <a:lnTo>
                    <a:pt x="816" y="207"/>
                  </a:lnTo>
                  <a:lnTo>
                    <a:pt x="810" y="190"/>
                  </a:lnTo>
                  <a:lnTo>
                    <a:pt x="803" y="174"/>
                  </a:lnTo>
                  <a:lnTo>
                    <a:pt x="795" y="158"/>
                  </a:lnTo>
                  <a:lnTo>
                    <a:pt x="787" y="144"/>
                  </a:lnTo>
                  <a:lnTo>
                    <a:pt x="778" y="130"/>
                  </a:lnTo>
                  <a:lnTo>
                    <a:pt x="768" y="116"/>
                  </a:lnTo>
                  <a:lnTo>
                    <a:pt x="758" y="104"/>
                  </a:lnTo>
                  <a:lnTo>
                    <a:pt x="747" y="92"/>
                  </a:lnTo>
                  <a:lnTo>
                    <a:pt x="735" y="81"/>
                  </a:lnTo>
                  <a:lnTo>
                    <a:pt x="723" y="70"/>
                  </a:lnTo>
                  <a:lnTo>
                    <a:pt x="709" y="61"/>
                  </a:lnTo>
                  <a:lnTo>
                    <a:pt x="695" y="52"/>
                  </a:lnTo>
                  <a:lnTo>
                    <a:pt x="680" y="43"/>
                  </a:lnTo>
                  <a:lnTo>
                    <a:pt x="665" y="36"/>
                  </a:lnTo>
                  <a:lnTo>
                    <a:pt x="649" y="29"/>
                  </a:lnTo>
                  <a:lnTo>
                    <a:pt x="632" y="23"/>
                  </a:lnTo>
                  <a:lnTo>
                    <a:pt x="614" y="18"/>
                  </a:lnTo>
                  <a:lnTo>
                    <a:pt x="595" y="13"/>
                  </a:lnTo>
                  <a:lnTo>
                    <a:pt x="575" y="9"/>
                  </a:lnTo>
                  <a:lnTo>
                    <a:pt x="555" y="6"/>
                  </a:lnTo>
                  <a:lnTo>
                    <a:pt x="534" y="4"/>
                  </a:lnTo>
                  <a:lnTo>
                    <a:pt x="513" y="2"/>
                  </a:lnTo>
                  <a:lnTo>
                    <a:pt x="491" y="1"/>
                  </a:lnTo>
                  <a:lnTo>
                    <a:pt x="468" y="0"/>
                  </a:lnTo>
                  <a:lnTo>
                    <a:pt x="218" y="0"/>
                  </a:lnTo>
                  <a:lnTo>
                    <a:pt x="0" y="1121"/>
                  </a:lnTo>
                  <a:lnTo>
                    <a:pt x="266" y="1121"/>
                  </a:lnTo>
                  <a:lnTo>
                    <a:pt x="307" y="1120"/>
                  </a:lnTo>
                  <a:lnTo>
                    <a:pt x="345" y="1117"/>
                  </a:lnTo>
                  <a:lnTo>
                    <a:pt x="381" y="1112"/>
                  </a:lnTo>
                  <a:lnTo>
                    <a:pt x="416" y="1104"/>
                  </a:lnTo>
                  <a:lnTo>
                    <a:pt x="449" y="1095"/>
                  </a:lnTo>
                  <a:lnTo>
                    <a:pt x="481" y="1084"/>
                  </a:lnTo>
                  <a:lnTo>
                    <a:pt x="511" y="1071"/>
                  </a:lnTo>
                  <a:lnTo>
                    <a:pt x="539" y="1057"/>
                  </a:lnTo>
                  <a:lnTo>
                    <a:pt x="566" y="1039"/>
                  </a:lnTo>
                  <a:lnTo>
                    <a:pt x="592" y="1022"/>
                  </a:lnTo>
                  <a:lnTo>
                    <a:pt x="616" y="1002"/>
                  </a:lnTo>
                  <a:lnTo>
                    <a:pt x="639" y="981"/>
                  </a:lnTo>
                  <a:lnTo>
                    <a:pt x="660" y="959"/>
                  </a:lnTo>
                  <a:lnTo>
                    <a:pt x="680" y="936"/>
                  </a:lnTo>
                  <a:lnTo>
                    <a:pt x="699" y="911"/>
                  </a:lnTo>
                  <a:lnTo>
                    <a:pt x="716" y="885"/>
                  </a:lnTo>
                  <a:lnTo>
                    <a:pt x="732" y="859"/>
                  </a:lnTo>
                  <a:lnTo>
                    <a:pt x="746" y="831"/>
                  </a:lnTo>
                  <a:lnTo>
                    <a:pt x="760" y="802"/>
                  </a:lnTo>
                  <a:lnTo>
                    <a:pt x="772" y="772"/>
                  </a:lnTo>
                  <a:lnTo>
                    <a:pt x="783" y="741"/>
                  </a:lnTo>
                  <a:lnTo>
                    <a:pt x="793" y="709"/>
                  </a:lnTo>
                  <a:lnTo>
                    <a:pt x="802" y="677"/>
                  </a:lnTo>
                  <a:lnTo>
                    <a:pt x="810" y="645"/>
                  </a:lnTo>
                  <a:lnTo>
                    <a:pt x="817" y="612"/>
                  </a:lnTo>
                  <a:lnTo>
                    <a:pt x="823" y="578"/>
                  </a:lnTo>
                  <a:lnTo>
                    <a:pt x="828" y="544"/>
                  </a:lnTo>
                  <a:lnTo>
                    <a:pt x="832" y="510"/>
                  </a:lnTo>
                  <a:lnTo>
                    <a:pt x="835" y="475"/>
                  </a:lnTo>
                  <a:lnTo>
                    <a:pt x="837" y="440"/>
                  </a:lnTo>
                  <a:lnTo>
                    <a:pt x="838" y="406"/>
                  </a:lnTo>
                  <a:lnTo>
                    <a:pt x="838" y="37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  <a:cs typeface="+mn-cs"/>
              </a:endParaRPr>
            </a:p>
          </p:txBody>
        </p:sp>
        <p:sp>
          <p:nvSpPr>
            <p:cNvPr id="35" name="Freeform 31"/>
            <p:cNvSpPr>
              <a:spLocks noEditPoints="1"/>
            </p:cNvSpPr>
            <p:nvPr/>
          </p:nvSpPr>
          <p:spPr bwMode="gray">
            <a:xfrm>
              <a:off x="3011488" y="3751263"/>
              <a:ext cx="128587" cy="173037"/>
            </a:xfrm>
            <a:custGeom>
              <a:avLst/>
              <a:gdLst/>
              <a:ahLst/>
              <a:cxnLst>
                <a:cxn ang="0">
                  <a:pos x="483" y="229"/>
                </a:cxn>
                <a:cxn ang="0">
                  <a:pos x="160" y="242"/>
                </a:cxn>
                <a:cxn ang="0">
                  <a:pos x="181" y="195"/>
                </a:cxn>
                <a:cxn ang="0">
                  <a:pos x="208" y="154"/>
                </a:cxn>
                <a:cxn ang="0">
                  <a:pos x="242" y="122"/>
                </a:cxn>
                <a:cxn ang="0">
                  <a:pos x="285" y="100"/>
                </a:cxn>
                <a:cxn ang="0">
                  <a:pos x="335" y="89"/>
                </a:cxn>
                <a:cxn ang="0">
                  <a:pos x="380" y="90"/>
                </a:cxn>
                <a:cxn ang="0">
                  <a:pos x="416" y="102"/>
                </a:cxn>
                <a:cxn ang="0">
                  <a:pos x="446" y="121"/>
                </a:cxn>
                <a:cxn ang="0">
                  <a:pos x="467" y="149"/>
                </a:cxn>
                <a:cxn ang="0">
                  <a:pos x="480" y="184"/>
                </a:cxn>
                <a:cxn ang="0">
                  <a:pos x="596" y="218"/>
                </a:cxn>
                <a:cxn ang="0">
                  <a:pos x="594" y="181"/>
                </a:cxn>
                <a:cxn ang="0">
                  <a:pos x="586" y="146"/>
                </a:cxn>
                <a:cxn ang="0">
                  <a:pos x="573" y="116"/>
                </a:cxn>
                <a:cxn ang="0">
                  <a:pos x="556" y="88"/>
                </a:cxn>
                <a:cxn ang="0">
                  <a:pos x="536" y="64"/>
                </a:cxn>
                <a:cxn ang="0">
                  <a:pos x="510" y="44"/>
                </a:cxn>
                <a:cxn ang="0">
                  <a:pos x="473" y="23"/>
                </a:cxn>
                <a:cxn ang="0">
                  <a:pos x="409" y="4"/>
                </a:cxn>
                <a:cxn ang="0">
                  <a:pos x="338" y="1"/>
                </a:cxn>
                <a:cxn ang="0">
                  <a:pos x="271" y="11"/>
                </a:cxn>
                <a:cxn ang="0">
                  <a:pos x="211" y="34"/>
                </a:cxn>
                <a:cxn ang="0">
                  <a:pos x="160" y="66"/>
                </a:cxn>
                <a:cxn ang="0">
                  <a:pos x="117" y="108"/>
                </a:cxn>
                <a:cxn ang="0">
                  <a:pos x="81" y="157"/>
                </a:cxn>
                <a:cxn ang="0">
                  <a:pos x="52" y="212"/>
                </a:cxn>
                <a:cxn ang="0">
                  <a:pos x="30" y="272"/>
                </a:cxn>
                <a:cxn ang="0">
                  <a:pos x="14" y="334"/>
                </a:cxn>
                <a:cxn ang="0">
                  <a:pos x="4" y="398"/>
                </a:cxn>
                <a:cxn ang="0">
                  <a:pos x="0" y="463"/>
                </a:cxn>
                <a:cxn ang="0">
                  <a:pos x="1" y="523"/>
                </a:cxn>
                <a:cxn ang="0">
                  <a:pos x="7" y="578"/>
                </a:cxn>
                <a:cxn ang="0">
                  <a:pos x="19" y="626"/>
                </a:cxn>
                <a:cxn ang="0">
                  <a:pos x="37" y="668"/>
                </a:cxn>
                <a:cxn ang="0">
                  <a:pos x="60" y="705"/>
                </a:cxn>
                <a:cxn ang="0">
                  <a:pos x="88" y="737"/>
                </a:cxn>
                <a:cxn ang="0">
                  <a:pos x="122" y="762"/>
                </a:cxn>
                <a:cxn ang="0">
                  <a:pos x="161" y="782"/>
                </a:cxn>
                <a:cxn ang="0">
                  <a:pos x="206" y="795"/>
                </a:cxn>
                <a:cxn ang="0">
                  <a:pos x="258" y="804"/>
                </a:cxn>
                <a:cxn ang="0">
                  <a:pos x="314" y="806"/>
                </a:cxn>
                <a:cxn ang="0">
                  <a:pos x="377" y="803"/>
                </a:cxn>
                <a:cxn ang="0">
                  <a:pos x="441" y="793"/>
                </a:cxn>
                <a:cxn ang="0">
                  <a:pos x="499" y="693"/>
                </a:cxn>
                <a:cxn ang="0">
                  <a:pos x="424" y="706"/>
                </a:cxn>
                <a:cxn ang="0">
                  <a:pos x="378" y="709"/>
                </a:cxn>
                <a:cxn ang="0">
                  <a:pos x="331" y="707"/>
                </a:cxn>
                <a:cxn ang="0">
                  <a:pos x="289" y="701"/>
                </a:cxn>
                <a:cxn ang="0">
                  <a:pos x="252" y="690"/>
                </a:cxn>
                <a:cxn ang="0">
                  <a:pos x="218" y="674"/>
                </a:cxn>
                <a:cxn ang="0">
                  <a:pos x="191" y="654"/>
                </a:cxn>
                <a:cxn ang="0">
                  <a:pos x="168" y="630"/>
                </a:cxn>
                <a:cxn ang="0">
                  <a:pos x="149" y="601"/>
                </a:cxn>
                <a:cxn ang="0">
                  <a:pos x="135" y="567"/>
                </a:cxn>
                <a:cxn ang="0">
                  <a:pos x="126" y="528"/>
                </a:cxn>
                <a:cxn ang="0">
                  <a:pos x="121" y="484"/>
                </a:cxn>
                <a:cxn ang="0">
                  <a:pos x="120" y="436"/>
                </a:cxn>
                <a:cxn ang="0">
                  <a:pos x="125" y="391"/>
                </a:cxn>
                <a:cxn ang="0">
                  <a:pos x="580" y="330"/>
                </a:cxn>
                <a:cxn ang="0">
                  <a:pos x="592" y="291"/>
                </a:cxn>
                <a:cxn ang="0">
                  <a:pos x="596" y="218"/>
                </a:cxn>
              </a:cxnLst>
              <a:rect l="0" t="0" r="r" b="b"/>
              <a:pathLst>
                <a:path w="596" h="806">
                  <a:moveTo>
                    <a:pt x="483" y="210"/>
                  </a:moveTo>
                  <a:lnTo>
                    <a:pt x="483" y="221"/>
                  </a:lnTo>
                  <a:lnTo>
                    <a:pt x="483" y="229"/>
                  </a:lnTo>
                  <a:lnTo>
                    <a:pt x="483" y="236"/>
                  </a:lnTo>
                  <a:lnTo>
                    <a:pt x="483" y="242"/>
                  </a:lnTo>
                  <a:lnTo>
                    <a:pt x="160" y="242"/>
                  </a:lnTo>
                  <a:lnTo>
                    <a:pt x="167" y="226"/>
                  </a:lnTo>
                  <a:lnTo>
                    <a:pt x="174" y="210"/>
                  </a:lnTo>
                  <a:lnTo>
                    <a:pt x="181" y="195"/>
                  </a:lnTo>
                  <a:lnTo>
                    <a:pt x="189" y="181"/>
                  </a:lnTo>
                  <a:lnTo>
                    <a:pt x="198" y="167"/>
                  </a:lnTo>
                  <a:lnTo>
                    <a:pt x="208" y="154"/>
                  </a:lnTo>
                  <a:lnTo>
                    <a:pt x="218" y="142"/>
                  </a:lnTo>
                  <a:lnTo>
                    <a:pt x="230" y="131"/>
                  </a:lnTo>
                  <a:lnTo>
                    <a:pt x="242" y="122"/>
                  </a:lnTo>
                  <a:lnTo>
                    <a:pt x="256" y="113"/>
                  </a:lnTo>
                  <a:lnTo>
                    <a:pt x="270" y="106"/>
                  </a:lnTo>
                  <a:lnTo>
                    <a:pt x="285" y="100"/>
                  </a:lnTo>
                  <a:lnTo>
                    <a:pt x="300" y="95"/>
                  </a:lnTo>
                  <a:lnTo>
                    <a:pt x="317" y="91"/>
                  </a:lnTo>
                  <a:lnTo>
                    <a:pt x="335" y="89"/>
                  </a:lnTo>
                  <a:lnTo>
                    <a:pt x="354" y="88"/>
                  </a:lnTo>
                  <a:lnTo>
                    <a:pt x="368" y="89"/>
                  </a:lnTo>
                  <a:lnTo>
                    <a:pt x="380" y="90"/>
                  </a:lnTo>
                  <a:lnTo>
                    <a:pt x="393" y="93"/>
                  </a:lnTo>
                  <a:lnTo>
                    <a:pt x="405" y="97"/>
                  </a:lnTo>
                  <a:lnTo>
                    <a:pt x="416" y="102"/>
                  </a:lnTo>
                  <a:lnTo>
                    <a:pt x="427" y="107"/>
                  </a:lnTo>
                  <a:lnTo>
                    <a:pt x="437" y="114"/>
                  </a:lnTo>
                  <a:lnTo>
                    <a:pt x="446" y="121"/>
                  </a:lnTo>
                  <a:lnTo>
                    <a:pt x="454" y="130"/>
                  </a:lnTo>
                  <a:lnTo>
                    <a:pt x="461" y="139"/>
                  </a:lnTo>
                  <a:lnTo>
                    <a:pt x="467" y="149"/>
                  </a:lnTo>
                  <a:lnTo>
                    <a:pt x="473" y="159"/>
                  </a:lnTo>
                  <a:lnTo>
                    <a:pt x="477" y="172"/>
                  </a:lnTo>
                  <a:lnTo>
                    <a:pt x="480" y="184"/>
                  </a:lnTo>
                  <a:lnTo>
                    <a:pt x="482" y="197"/>
                  </a:lnTo>
                  <a:lnTo>
                    <a:pt x="483" y="210"/>
                  </a:lnTo>
                  <a:close/>
                  <a:moveTo>
                    <a:pt x="596" y="218"/>
                  </a:moveTo>
                  <a:lnTo>
                    <a:pt x="596" y="205"/>
                  </a:lnTo>
                  <a:lnTo>
                    <a:pt x="595" y="193"/>
                  </a:lnTo>
                  <a:lnTo>
                    <a:pt x="594" y="181"/>
                  </a:lnTo>
                  <a:lnTo>
                    <a:pt x="592" y="169"/>
                  </a:lnTo>
                  <a:lnTo>
                    <a:pt x="589" y="157"/>
                  </a:lnTo>
                  <a:lnTo>
                    <a:pt x="586" y="146"/>
                  </a:lnTo>
                  <a:lnTo>
                    <a:pt x="582" y="136"/>
                  </a:lnTo>
                  <a:lnTo>
                    <a:pt x="578" y="125"/>
                  </a:lnTo>
                  <a:lnTo>
                    <a:pt x="573" y="116"/>
                  </a:lnTo>
                  <a:lnTo>
                    <a:pt x="568" y="106"/>
                  </a:lnTo>
                  <a:lnTo>
                    <a:pt x="562" y="97"/>
                  </a:lnTo>
                  <a:lnTo>
                    <a:pt x="556" y="88"/>
                  </a:lnTo>
                  <a:lnTo>
                    <a:pt x="550" y="80"/>
                  </a:lnTo>
                  <a:lnTo>
                    <a:pt x="543" y="72"/>
                  </a:lnTo>
                  <a:lnTo>
                    <a:pt x="536" y="64"/>
                  </a:lnTo>
                  <a:lnTo>
                    <a:pt x="528" y="57"/>
                  </a:lnTo>
                  <a:lnTo>
                    <a:pt x="519" y="50"/>
                  </a:lnTo>
                  <a:lnTo>
                    <a:pt x="510" y="44"/>
                  </a:lnTo>
                  <a:lnTo>
                    <a:pt x="502" y="38"/>
                  </a:lnTo>
                  <a:lnTo>
                    <a:pt x="492" y="33"/>
                  </a:lnTo>
                  <a:lnTo>
                    <a:pt x="473" y="23"/>
                  </a:lnTo>
                  <a:lnTo>
                    <a:pt x="453" y="15"/>
                  </a:lnTo>
                  <a:lnTo>
                    <a:pt x="431" y="8"/>
                  </a:lnTo>
                  <a:lnTo>
                    <a:pt x="409" y="4"/>
                  </a:lnTo>
                  <a:lnTo>
                    <a:pt x="386" y="1"/>
                  </a:lnTo>
                  <a:lnTo>
                    <a:pt x="362" y="0"/>
                  </a:lnTo>
                  <a:lnTo>
                    <a:pt x="338" y="1"/>
                  </a:lnTo>
                  <a:lnTo>
                    <a:pt x="314" y="3"/>
                  </a:lnTo>
                  <a:lnTo>
                    <a:pt x="292" y="6"/>
                  </a:lnTo>
                  <a:lnTo>
                    <a:pt x="271" y="11"/>
                  </a:lnTo>
                  <a:lnTo>
                    <a:pt x="250" y="18"/>
                  </a:lnTo>
                  <a:lnTo>
                    <a:pt x="229" y="25"/>
                  </a:lnTo>
                  <a:lnTo>
                    <a:pt x="211" y="34"/>
                  </a:lnTo>
                  <a:lnTo>
                    <a:pt x="193" y="44"/>
                  </a:lnTo>
                  <a:lnTo>
                    <a:pt x="176" y="55"/>
                  </a:lnTo>
                  <a:lnTo>
                    <a:pt x="160" y="66"/>
                  </a:lnTo>
                  <a:lnTo>
                    <a:pt x="145" y="79"/>
                  </a:lnTo>
                  <a:lnTo>
                    <a:pt x="130" y="93"/>
                  </a:lnTo>
                  <a:lnTo>
                    <a:pt x="117" y="108"/>
                  </a:lnTo>
                  <a:lnTo>
                    <a:pt x="104" y="123"/>
                  </a:lnTo>
                  <a:lnTo>
                    <a:pt x="92" y="140"/>
                  </a:lnTo>
                  <a:lnTo>
                    <a:pt x="81" y="157"/>
                  </a:lnTo>
                  <a:lnTo>
                    <a:pt x="71" y="175"/>
                  </a:lnTo>
                  <a:lnTo>
                    <a:pt x="61" y="193"/>
                  </a:lnTo>
                  <a:lnTo>
                    <a:pt x="52" y="212"/>
                  </a:lnTo>
                  <a:lnTo>
                    <a:pt x="44" y="232"/>
                  </a:lnTo>
                  <a:lnTo>
                    <a:pt x="37" y="251"/>
                  </a:lnTo>
                  <a:lnTo>
                    <a:pt x="30" y="272"/>
                  </a:lnTo>
                  <a:lnTo>
                    <a:pt x="24" y="292"/>
                  </a:lnTo>
                  <a:lnTo>
                    <a:pt x="19" y="313"/>
                  </a:lnTo>
                  <a:lnTo>
                    <a:pt x="14" y="334"/>
                  </a:lnTo>
                  <a:lnTo>
                    <a:pt x="10" y="355"/>
                  </a:lnTo>
                  <a:lnTo>
                    <a:pt x="7" y="376"/>
                  </a:lnTo>
                  <a:lnTo>
                    <a:pt x="4" y="398"/>
                  </a:lnTo>
                  <a:lnTo>
                    <a:pt x="2" y="419"/>
                  </a:lnTo>
                  <a:lnTo>
                    <a:pt x="1" y="442"/>
                  </a:lnTo>
                  <a:lnTo>
                    <a:pt x="0" y="463"/>
                  </a:lnTo>
                  <a:lnTo>
                    <a:pt x="0" y="484"/>
                  </a:lnTo>
                  <a:lnTo>
                    <a:pt x="0" y="504"/>
                  </a:lnTo>
                  <a:lnTo>
                    <a:pt x="1" y="523"/>
                  </a:lnTo>
                  <a:lnTo>
                    <a:pt x="2" y="542"/>
                  </a:lnTo>
                  <a:lnTo>
                    <a:pt x="5" y="560"/>
                  </a:lnTo>
                  <a:lnTo>
                    <a:pt x="7" y="578"/>
                  </a:lnTo>
                  <a:lnTo>
                    <a:pt x="11" y="594"/>
                  </a:lnTo>
                  <a:lnTo>
                    <a:pt x="15" y="610"/>
                  </a:lnTo>
                  <a:lnTo>
                    <a:pt x="19" y="626"/>
                  </a:lnTo>
                  <a:lnTo>
                    <a:pt x="24" y="641"/>
                  </a:lnTo>
                  <a:lnTo>
                    <a:pt x="30" y="655"/>
                  </a:lnTo>
                  <a:lnTo>
                    <a:pt x="37" y="668"/>
                  </a:lnTo>
                  <a:lnTo>
                    <a:pt x="44" y="681"/>
                  </a:lnTo>
                  <a:lnTo>
                    <a:pt x="51" y="693"/>
                  </a:lnTo>
                  <a:lnTo>
                    <a:pt x="60" y="705"/>
                  </a:lnTo>
                  <a:lnTo>
                    <a:pt x="68" y="716"/>
                  </a:lnTo>
                  <a:lnTo>
                    <a:pt x="78" y="727"/>
                  </a:lnTo>
                  <a:lnTo>
                    <a:pt x="88" y="737"/>
                  </a:lnTo>
                  <a:lnTo>
                    <a:pt x="99" y="746"/>
                  </a:lnTo>
                  <a:lnTo>
                    <a:pt x="110" y="754"/>
                  </a:lnTo>
                  <a:lnTo>
                    <a:pt x="122" y="762"/>
                  </a:lnTo>
                  <a:lnTo>
                    <a:pt x="135" y="769"/>
                  </a:lnTo>
                  <a:lnTo>
                    <a:pt x="148" y="776"/>
                  </a:lnTo>
                  <a:lnTo>
                    <a:pt x="161" y="782"/>
                  </a:lnTo>
                  <a:lnTo>
                    <a:pt x="176" y="787"/>
                  </a:lnTo>
                  <a:lnTo>
                    <a:pt x="191" y="791"/>
                  </a:lnTo>
                  <a:lnTo>
                    <a:pt x="206" y="795"/>
                  </a:lnTo>
                  <a:lnTo>
                    <a:pt x="223" y="799"/>
                  </a:lnTo>
                  <a:lnTo>
                    <a:pt x="240" y="802"/>
                  </a:lnTo>
                  <a:lnTo>
                    <a:pt x="258" y="804"/>
                  </a:lnTo>
                  <a:lnTo>
                    <a:pt x="276" y="805"/>
                  </a:lnTo>
                  <a:lnTo>
                    <a:pt x="295" y="806"/>
                  </a:lnTo>
                  <a:lnTo>
                    <a:pt x="314" y="806"/>
                  </a:lnTo>
                  <a:lnTo>
                    <a:pt x="335" y="806"/>
                  </a:lnTo>
                  <a:lnTo>
                    <a:pt x="356" y="805"/>
                  </a:lnTo>
                  <a:lnTo>
                    <a:pt x="377" y="803"/>
                  </a:lnTo>
                  <a:lnTo>
                    <a:pt x="398" y="800"/>
                  </a:lnTo>
                  <a:lnTo>
                    <a:pt x="420" y="797"/>
                  </a:lnTo>
                  <a:lnTo>
                    <a:pt x="441" y="793"/>
                  </a:lnTo>
                  <a:lnTo>
                    <a:pt x="462" y="788"/>
                  </a:lnTo>
                  <a:lnTo>
                    <a:pt x="483" y="782"/>
                  </a:lnTo>
                  <a:lnTo>
                    <a:pt x="499" y="693"/>
                  </a:lnTo>
                  <a:lnTo>
                    <a:pt x="469" y="699"/>
                  </a:lnTo>
                  <a:lnTo>
                    <a:pt x="439" y="704"/>
                  </a:lnTo>
                  <a:lnTo>
                    <a:pt x="424" y="706"/>
                  </a:lnTo>
                  <a:lnTo>
                    <a:pt x="408" y="708"/>
                  </a:lnTo>
                  <a:lnTo>
                    <a:pt x="393" y="709"/>
                  </a:lnTo>
                  <a:lnTo>
                    <a:pt x="378" y="709"/>
                  </a:lnTo>
                  <a:lnTo>
                    <a:pt x="362" y="709"/>
                  </a:lnTo>
                  <a:lnTo>
                    <a:pt x="346" y="708"/>
                  </a:lnTo>
                  <a:lnTo>
                    <a:pt x="331" y="707"/>
                  </a:lnTo>
                  <a:lnTo>
                    <a:pt x="316" y="705"/>
                  </a:lnTo>
                  <a:lnTo>
                    <a:pt x="302" y="703"/>
                  </a:lnTo>
                  <a:lnTo>
                    <a:pt x="289" y="701"/>
                  </a:lnTo>
                  <a:lnTo>
                    <a:pt x="276" y="697"/>
                  </a:lnTo>
                  <a:lnTo>
                    <a:pt x="264" y="694"/>
                  </a:lnTo>
                  <a:lnTo>
                    <a:pt x="252" y="690"/>
                  </a:lnTo>
                  <a:lnTo>
                    <a:pt x="239" y="685"/>
                  </a:lnTo>
                  <a:lnTo>
                    <a:pt x="228" y="680"/>
                  </a:lnTo>
                  <a:lnTo>
                    <a:pt x="218" y="674"/>
                  </a:lnTo>
                  <a:lnTo>
                    <a:pt x="208" y="668"/>
                  </a:lnTo>
                  <a:lnTo>
                    <a:pt x="199" y="662"/>
                  </a:lnTo>
                  <a:lnTo>
                    <a:pt x="191" y="654"/>
                  </a:lnTo>
                  <a:lnTo>
                    <a:pt x="182" y="647"/>
                  </a:lnTo>
                  <a:lnTo>
                    <a:pt x="175" y="639"/>
                  </a:lnTo>
                  <a:lnTo>
                    <a:pt x="168" y="630"/>
                  </a:lnTo>
                  <a:lnTo>
                    <a:pt x="161" y="621"/>
                  </a:lnTo>
                  <a:lnTo>
                    <a:pt x="155" y="611"/>
                  </a:lnTo>
                  <a:lnTo>
                    <a:pt x="149" y="601"/>
                  </a:lnTo>
                  <a:lnTo>
                    <a:pt x="144" y="590"/>
                  </a:lnTo>
                  <a:lnTo>
                    <a:pt x="140" y="579"/>
                  </a:lnTo>
                  <a:lnTo>
                    <a:pt x="135" y="567"/>
                  </a:lnTo>
                  <a:lnTo>
                    <a:pt x="132" y="554"/>
                  </a:lnTo>
                  <a:lnTo>
                    <a:pt x="129" y="541"/>
                  </a:lnTo>
                  <a:lnTo>
                    <a:pt x="126" y="528"/>
                  </a:lnTo>
                  <a:lnTo>
                    <a:pt x="124" y="514"/>
                  </a:lnTo>
                  <a:lnTo>
                    <a:pt x="122" y="499"/>
                  </a:lnTo>
                  <a:lnTo>
                    <a:pt x="121" y="484"/>
                  </a:lnTo>
                  <a:lnTo>
                    <a:pt x="120" y="468"/>
                  </a:lnTo>
                  <a:lnTo>
                    <a:pt x="120" y="452"/>
                  </a:lnTo>
                  <a:lnTo>
                    <a:pt x="120" y="436"/>
                  </a:lnTo>
                  <a:lnTo>
                    <a:pt x="122" y="421"/>
                  </a:lnTo>
                  <a:lnTo>
                    <a:pt x="123" y="406"/>
                  </a:lnTo>
                  <a:lnTo>
                    <a:pt x="125" y="391"/>
                  </a:lnTo>
                  <a:lnTo>
                    <a:pt x="130" y="361"/>
                  </a:lnTo>
                  <a:lnTo>
                    <a:pt x="136" y="330"/>
                  </a:lnTo>
                  <a:lnTo>
                    <a:pt x="580" y="330"/>
                  </a:lnTo>
                  <a:lnTo>
                    <a:pt x="585" y="318"/>
                  </a:lnTo>
                  <a:lnTo>
                    <a:pt x="590" y="305"/>
                  </a:lnTo>
                  <a:lnTo>
                    <a:pt x="592" y="291"/>
                  </a:lnTo>
                  <a:lnTo>
                    <a:pt x="594" y="277"/>
                  </a:lnTo>
                  <a:lnTo>
                    <a:pt x="596" y="248"/>
                  </a:lnTo>
                  <a:lnTo>
                    <a:pt x="596" y="21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  <a:cs typeface="+mn-cs"/>
              </a:endParaRPr>
            </a:p>
          </p:txBody>
        </p:sp>
        <p:sp>
          <p:nvSpPr>
            <p:cNvPr id="36" name="Freeform 32"/>
            <p:cNvSpPr>
              <a:spLocks/>
            </p:cNvSpPr>
            <p:nvPr/>
          </p:nvSpPr>
          <p:spPr bwMode="gray">
            <a:xfrm>
              <a:off x="3151188" y="3679825"/>
              <a:ext cx="73025" cy="241300"/>
            </a:xfrm>
            <a:custGeom>
              <a:avLst/>
              <a:gdLst/>
              <a:ahLst/>
              <a:cxnLst>
                <a:cxn ang="0">
                  <a:pos x="112" y="1121"/>
                </a:cxn>
                <a:cxn ang="0">
                  <a:pos x="0" y="1121"/>
                </a:cxn>
                <a:cxn ang="0">
                  <a:pos x="218" y="0"/>
                </a:cxn>
                <a:cxn ang="0">
                  <a:pos x="330" y="0"/>
                </a:cxn>
                <a:cxn ang="0">
                  <a:pos x="112" y="1121"/>
                </a:cxn>
              </a:cxnLst>
              <a:rect l="0" t="0" r="r" b="b"/>
              <a:pathLst>
                <a:path w="330" h="1121">
                  <a:moveTo>
                    <a:pt x="112" y="1121"/>
                  </a:moveTo>
                  <a:lnTo>
                    <a:pt x="0" y="1121"/>
                  </a:lnTo>
                  <a:lnTo>
                    <a:pt x="218" y="0"/>
                  </a:lnTo>
                  <a:lnTo>
                    <a:pt x="330" y="0"/>
                  </a:lnTo>
                  <a:lnTo>
                    <a:pt x="112" y="112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  <a:cs typeface="+mn-cs"/>
              </a:endParaRPr>
            </a:p>
          </p:txBody>
        </p:sp>
        <p:sp>
          <p:nvSpPr>
            <p:cNvPr id="37" name="Freeform 33"/>
            <p:cNvSpPr>
              <a:spLocks noEditPoints="1"/>
            </p:cNvSpPr>
            <p:nvPr/>
          </p:nvSpPr>
          <p:spPr bwMode="gray">
            <a:xfrm>
              <a:off x="3217863" y="3679825"/>
              <a:ext cx="73025" cy="241300"/>
            </a:xfrm>
            <a:custGeom>
              <a:avLst/>
              <a:gdLst/>
              <a:ahLst/>
              <a:cxnLst>
                <a:cxn ang="0">
                  <a:pos x="314" y="145"/>
                </a:cxn>
                <a:cxn ang="0">
                  <a:pos x="170" y="145"/>
                </a:cxn>
                <a:cxn ang="0">
                  <a:pos x="194" y="0"/>
                </a:cxn>
                <a:cxn ang="0">
                  <a:pos x="338" y="0"/>
                </a:cxn>
                <a:cxn ang="0">
                  <a:pos x="314" y="145"/>
                </a:cxn>
                <a:cxn ang="0">
                  <a:pos x="112" y="1121"/>
                </a:cxn>
                <a:cxn ang="0">
                  <a:pos x="0" y="1121"/>
                </a:cxn>
                <a:cxn ang="0">
                  <a:pos x="146" y="347"/>
                </a:cxn>
                <a:cxn ang="0">
                  <a:pos x="258" y="347"/>
                </a:cxn>
                <a:cxn ang="0">
                  <a:pos x="112" y="1121"/>
                </a:cxn>
              </a:cxnLst>
              <a:rect l="0" t="0" r="r" b="b"/>
              <a:pathLst>
                <a:path w="338" h="1121">
                  <a:moveTo>
                    <a:pt x="314" y="145"/>
                  </a:moveTo>
                  <a:lnTo>
                    <a:pt x="170" y="145"/>
                  </a:lnTo>
                  <a:lnTo>
                    <a:pt x="194" y="0"/>
                  </a:lnTo>
                  <a:lnTo>
                    <a:pt x="338" y="0"/>
                  </a:lnTo>
                  <a:lnTo>
                    <a:pt x="314" y="145"/>
                  </a:lnTo>
                  <a:close/>
                  <a:moveTo>
                    <a:pt x="112" y="1121"/>
                  </a:moveTo>
                  <a:lnTo>
                    <a:pt x="0" y="1121"/>
                  </a:lnTo>
                  <a:lnTo>
                    <a:pt x="146" y="347"/>
                  </a:lnTo>
                  <a:lnTo>
                    <a:pt x="258" y="347"/>
                  </a:lnTo>
                  <a:lnTo>
                    <a:pt x="112" y="112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  <a:cs typeface="+mn-cs"/>
              </a:endParaRPr>
            </a:p>
          </p:txBody>
        </p:sp>
        <p:sp>
          <p:nvSpPr>
            <p:cNvPr id="38" name="Freeform 34"/>
            <p:cNvSpPr>
              <a:spLocks/>
            </p:cNvSpPr>
            <p:nvPr/>
          </p:nvSpPr>
          <p:spPr bwMode="gray">
            <a:xfrm>
              <a:off x="3290888" y="3756025"/>
              <a:ext cx="144462" cy="165100"/>
            </a:xfrm>
            <a:custGeom>
              <a:avLst/>
              <a:gdLst/>
              <a:ahLst/>
              <a:cxnLst>
                <a:cxn ang="0">
                  <a:pos x="259" y="774"/>
                </a:cxn>
                <a:cxn ang="0">
                  <a:pos x="146" y="774"/>
                </a:cxn>
                <a:cxn ang="0">
                  <a:pos x="0" y="0"/>
                </a:cxn>
                <a:cxn ang="0">
                  <a:pos x="122" y="0"/>
                </a:cxn>
                <a:cxn ang="0">
                  <a:pos x="226" y="613"/>
                </a:cxn>
                <a:cxn ang="0">
                  <a:pos x="549" y="0"/>
                </a:cxn>
                <a:cxn ang="0">
                  <a:pos x="670" y="0"/>
                </a:cxn>
                <a:cxn ang="0">
                  <a:pos x="259" y="774"/>
                </a:cxn>
              </a:cxnLst>
              <a:rect l="0" t="0" r="r" b="b"/>
              <a:pathLst>
                <a:path w="670" h="774">
                  <a:moveTo>
                    <a:pt x="259" y="774"/>
                  </a:moveTo>
                  <a:lnTo>
                    <a:pt x="146" y="774"/>
                  </a:lnTo>
                  <a:lnTo>
                    <a:pt x="0" y="0"/>
                  </a:lnTo>
                  <a:lnTo>
                    <a:pt x="122" y="0"/>
                  </a:lnTo>
                  <a:lnTo>
                    <a:pt x="226" y="613"/>
                  </a:lnTo>
                  <a:lnTo>
                    <a:pt x="549" y="0"/>
                  </a:lnTo>
                  <a:lnTo>
                    <a:pt x="670" y="0"/>
                  </a:lnTo>
                  <a:lnTo>
                    <a:pt x="259" y="77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  <a:cs typeface="+mn-cs"/>
              </a:endParaRPr>
            </a:p>
          </p:txBody>
        </p:sp>
        <p:sp>
          <p:nvSpPr>
            <p:cNvPr id="39" name="Freeform 35"/>
            <p:cNvSpPr>
              <a:spLocks noEditPoints="1"/>
            </p:cNvSpPr>
            <p:nvPr/>
          </p:nvSpPr>
          <p:spPr bwMode="gray">
            <a:xfrm>
              <a:off x="3422650" y="3751263"/>
              <a:ext cx="131763" cy="173037"/>
            </a:xfrm>
            <a:custGeom>
              <a:avLst/>
              <a:gdLst/>
              <a:ahLst/>
              <a:cxnLst>
                <a:cxn ang="0">
                  <a:pos x="487" y="229"/>
                </a:cxn>
                <a:cxn ang="0">
                  <a:pos x="161" y="242"/>
                </a:cxn>
                <a:cxn ang="0">
                  <a:pos x="185" y="195"/>
                </a:cxn>
                <a:cxn ang="0">
                  <a:pos x="214" y="154"/>
                </a:cxn>
                <a:cxn ang="0">
                  <a:pos x="248" y="122"/>
                </a:cxn>
                <a:cxn ang="0">
                  <a:pos x="290" y="100"/>
                </a:cxn>
                <a:cxn ang="0">
                  <a:pos x="337" y="89"/>
                </a:cxn>
                <a:cxn ang="0">
                  <a:pos x="384" y="90"/>
                </a:cxn>
                <a:cxn ang="0">
                  <a:pos x="422" y="102"/>
                </a:cxn>
                <a:cxn ang="0">
                  <a:pos x="453" y="121"/>
                </a:cxn>
                <a:cxn ang="0">
                  <a:pos x="476" y="149"/>
                </a:cxn>
                <a:cxn ang="0">
                  <a:pos x="489" y="184"/>
                </a:cxn>
                <a:cxn ang="0">
                  <a:pos x="605" y="218"/>
                </a:cxn>
                <a:cxn ang="0">
                  <a:pos x="602" y="181"/>
                </a:cxn>
                <a:cxn ang="0">
                  <a:pos x="594" y="146"/>
                </a:cxn>
                <a:cxn ang="0">
                  <a:pos x="580" y="116"/>
                </a:cxn>
                <a:cxn ang="0">
                  <a:pos x="562" y="88"/>
                </a:cxn>
                <a:cxn ang="0">
                  <a:pos x="540" y="64"/>
                </a:cxn>
                <a:cxn ang="0">
                  <a:pos x="514" y="44"/>
                </a:cxn>
                <a:cxn ang="0">
                  <a:pos x="476" y="23"/>
                </a:cxn>
                <a:cxn ang="0">
                  <a:pos x="410" y="4"/>
                </a:cxn>
                <a:cxn ang="0">
                  <a:pos x="339" y="1"/>
                </a:cxn>
                <a:cxn ang="0">
                  <a:pos x="272" y="11"/>
                </a:cxn>
                <a:cxn ang="0">
                  <a:pos x="214" y="34"/>
                </a:cxn>
                <a:cxn ang="0">
                  <a:pos x="164" y="66"/>
                </a:cxn>
                <a:cxn ang="0">
                  <a:pos x="121" y="108"/>
                </a:cxn>
                <a:cxn ang="0">
                  <a:pos x="85" y="157"/>
                </a:cxn>
                <a:cxn ang="0">
                  <a:pos x="55" y="212"/>
                </a:cxn>
                <a:cxn ang="0">
                  <a:pos x="32" y="272"/>
                </a:cxn>
                <a:cxn ang="0">
                  <a:pos x="16" y="334"/>
                </a:cxn>
                <a:cxn ang="0">
                  <a:pos x="5" y="398"/>
                </a:cxn>
                <a:cxn ang="0">
                  <a:pos x="0" y="463"/>
                </a:cxn>
                <a:cxn ang="0">
                  <a:pos x="1" y="523"/>
                </a:cxn>
                <a:cxn ang="0">
                  <a:pos x="8" y="578"/>
                </a:cxn>
                <a:cxn ang="0">
                  <a:pos x="20" y="626"/>
                </a:cxn>
                <a:cxn ang="0">
                  <a:pos x="38" y="668"/>
                </a:cxn>
                <a:cxn ang="0">
                  <a:pos x="61" y="705"/>
                </a:cxn>
                <a:cxn ang="0">
                  <a:pos x="90" y="737"/>
                </a:cxn>
                <a:cxn ang="0">
                  <a:pos x="125" y="762"/>
                </a:cxn>
                <a:cxn ang="0">
                  <a:pos x="165" y="782"/>
                </a:cxn>
                <a:cxn ang="0">
                  <a:pos x="211" y="795"/>
                </a:cxn>
                <a:cxn ang="0">
                  <a:pos x="264" y="804"/>
                </a:cxn>
                <a:cxn ang="0">
                  <a:pos x="323" y="806"/>
                </a:cxn>
                <a:cxn ang="0">
                  <a:pos x="385" y="803"/>
                </a:cxn>
                <a:cxn ang="0">
                  <a:pos x="446" y="793"/>
                </a:cxn>
                <a:cxn ang="0">
                  <a:pos x="499" y="693"/>
                </a:cxn>
                <a:cxn ang="0">
                  <a:pos x="424" y="706"/>
                </a:cxn>
                <a:cxn ang="0">
                  <a:pos x="379" y="709"/>
                </a:cxn>
                <a:cxn ang="0">
                  <a:pos x="332" y="707"/>
                </a:cxn>
                <a:cxn ang="0">
                  <a:pos x="290" y="701"/>
                </a:cxn>
                <a:cxn ang="0">
                  <a:pos x="253" y="690"/>
                </a:cxn>
                <a:cxn ang="0">
                  <a:pos x="221" y="674"/>
                </a:cxn>
                <a:cxn ang="0">
                  <a:pos x="195" y="654"/>
                </a:cxn>
                <a:cxn ang="0">
                  <a:pos x="173" y="630"/>
                </a:cxn>
                <a:cxn ang="0">
                  <a:pos x="156" y="601"/>
                </a:cxn>
                <a:cxn ang="0">
                  <a:pos x="143" y="567"/>
                </a:cxn>
                <a:cxn ang="0">
                  <a:pos x="134" y="528"/>
                </a:cxn>
                <a:cxn ang="0">
                  <a:pos x="129" y="452"/>
                </a:cxn>
                <a:cxn ang="0">
                  <a:pos x="132" y="406"/>
                </a:cxn>
                <a:cxn ang="0">
                  <a:pos x="145" y="330"/>
                </a:cxn>
                <a:cxn ang="0">
                  <a:pos x="600" y="277"/>
                </a:cxn>
                <a:cxn ang="0">
                  <a:pos x="605" y="233"/>
                </a:cxn>
              </a:cxnLst>
              <a:rect l="0" t="0" r="r" b="b"/>
              <a:pathLst>
                <a:path w="605" h="806">
                  <a:moveTo>
                    <a:pt x="491" y="210"/>
                  </a:moveTo>
                  <a:lnTo>
                    <a:pt x="490" y="221"/>
                  </a:lnTo>
                  <a:lnTo>
                    <a:pt x="487" y="229"/>
                  </a:lnTo>
                  <a:lnTo>
                    <a:pt x="485" y="236"/>
                  </a:lnTo>
                  <a:lnTo>
                    <a:pt x="483" y="242"/>
                  </a:lnTo>
                  <a:lnTo>
                    <a:pt x="161" y="242"/>
                  </a:lnTo>
                  <a:lnTo>
                    <a:pt x="169" y="226"/>
                  </a:lnTo>
                  <a:lnTo>
                    <a:pt x="177" y="210"/>
                  </a:lnTo>
                  <a:lnTo>
                    <a:pt x="185" y="195"/>
                  </a:lnTo>
                  <a:lnTo>
                    <a:pt x="194" y="181"/>
                  </a:lnTo>
                  <a:lnTo>
                    <a:pt x="204" y="167"/>
                  </a:lnTo>
                  <a:lnTo>
                    <a:pt x="214" y="154"/>
                  </a:lnTo>
                  <a:lnTo>
                    <a:pt x="225" y="142"/>
                  </a:lnTo>
                  <a:lnTo>
                    <a:pt x="236" y="131"/>
                  </a:lnTo>
                  <a:lnTo>
                    <a:pt x="248" y="122"/>
                  </a:lnTo>
                  <a:lnTo>
                    <a:pt x="261" y="113"/>
                  </a:lnTo>
                  <a:lnTo>
                    <a:pt x="274" y="106"/>
                  </a:lnTo>
                  <a:lnTo>
                    <a:pt x="290" y="100"/>
                  </a:lnTo>
                  <a:lnTo>
                    <a:pt x="305" y="95"/>
                  </a:lnTo>
                  <a:lnTo>
                    <a:pt x="320" y="91"/>
                  </a:lnTo>
                  <a:lnTo>
                    <a:pt x="337" y="89"/>
                  </a:lnTo>
                  <a:lnTo>
                    <a:pt x="355" y="88"/>
                  </a:lnTo>
                  <a:lnTo>
                    <a:pt x="370" y="89"/>
                  </a:lnTo>
                  <a:lnTo>
                    <a:pt x="384" y="90"/>
                  </a:lnTo>
                  <a:lnTo>
                    <a:pt x="397" y="93"/>
                  </a:lnTo>
                  <a:lnTo>
                    <a:pt x="410" y="97"/>
                  </a:lnTo>
                  <a:lnTo>
                    <a:pt x="422" y="102"/>
                  </a:lnTo>
                  <a:lnTo>
                    <a:pt x="433" y="107"/>
                  </a:lnTo>
                  <a:lnTo>
                    <a:pt x="444" y="114"/>
                  </a:lnTo>
                  <a:lnTo>
                    <a:pt x="453" y="121"/>
                  </a:lnTo>
                  <a:lnTo>
                    <a:pt x="462" y="130"/>
                  </a:lnTo>
                  <a:lnTo>
                    <a:pt x="469" y="139"/>
                  </a:lnTo>
                  <a:lnTo>
                    <a:pt x="476" y="149"/>
                  </a:lnTo>
                  <a:lnTo>
                    <a:pt x="481" y="159"/>
                  </a:lnTo>
                  <a:lnTo>
                    <a:pt x="486" y="172"/>
                  </a:lnTo>
                  <a:lnTo>
                    <a:pt x="489" y="184"/>
                  </a:lnTo>
                  <a:lnTo>
                    <a:pt x="491" y="197"/>
                  </a:lnTo>
                  <a:lnTo>
                    <a:pt x="491" y="210"/>
                  </a:lnTo>
                  <a:close/>
                  <a:moveTo>
                    <a:pt x="605" y="218"/>
                  </a:moveTo>
                  <a:lnTo>
                    <a:pt x="605" y="205"/>
                  </a:lnTo>
                  <a:lnTo>
                    <a:pt x="604" y="193"/>
                  </a:lnTo>
                  <a:lnTo>
                    <a:pt x="602" y="181"/>
                  </a:lnTo>
                  <a:lnTo>
                    <a:pt x="600" y="169"/>
                  </a:lnTo>
                  <a:lnTo>
                    <a:pt x="597" y="157"/>
                  </a:lnTo>
                  <a:lnTo>
                    <a:pt x="594" y="146"/>
                  </a:lnTo>
                  <a:lnTo>
                    <a:pt x="590" y="136"/>
                  </a:lnTo>
                  <a:lnTo>
                    <a:pt x="585" y="125"/>
                  </a:lnTo>
                  <a:lnTo>
                    <a:pt x="580" y="116"/>
                  </a:lnTo>
                  <a:lnTo>
                    <a:pt x="575" y="106"/>
                  </a:lnTo>
                  <a:lnTo>
                    <a:pt x="569" y="97"/>
                  </a:lnTo>
                  <a:lnTo>
                    <a:pt x="562" y="88"/>
                  </a:lnTo>
                  <a:lnTo>
                    <a:pt x="556" y="80"/>
                  </a:lnTo>
                  <a:lnTo>
                    <a:pt x="547" y="72"/>
                  </a:lnTo>
                  <a:lnTo>
                    <a:pt x="540" y="64"/>
                  </a:lnTo>
                  <a:lnTo>
                    <a:pt x="532" y="57"/>
                  </a:lnTo>
                  <a:lnTo>
                    <a:pt x="523" y="50"/>
                  </a:lnTo>
                  <a:lnTo>
                    <a:pt x="514" y="44"/>
                  </a:lnTo>
                  <a:lnTo>
                    <a:pt x="505" y="38"/>
                  </a:lnTo>
                  <a:lnTo>
                    <a:pt x="496" y="33"/>
                  </a:lnTo>
                  <a:lnTo>
                    <a:pt x="476" y="23"/>
                  </a:lnTo>
                  <a:lnTo>
                    <a:pt x="455" y="15"/>
                  </a:lnTo>
                  <a:lnTo>
                    <a:pt x="433" y="8"/>
                  </a:lnTo>
                  <a:lnTo>
                    <a:pt x="410" y="4"/>
                  </a:lnTo>
                  <a:lnTo>
                    <a:pt x="387" y="1"/>
                  </a:lnTo>
                  <a:lnTo>
                    <a:pt x="363" y="0"/>
                  </a:lnTo>
                  <a:lnTo>
                    <a:pt x="339" y="1"/>
                  </a:lnTo>
                  <a:lnTo>
                    <a:pt x="316" y="3"/>
                  </a:lnTo>
                  <a:lnTo>
                    <a:pt x="294" y="6"/>
                  </a:lnTo>
                  <a:lnTo>
                    <a:pt x="272" y="11"/>
                  </a:lnTo>
                  <a:lnTo>
                    <a:pt x="252" y="18"/>
                  </a:lnTo>
                  <a:lnTo>
                    <a:pt x="233" y="25"/>
                  </a:lnTo>
                  <a:lnTo>
                    <a:pt x="214" y="34"/>
                  </a:lnTo>
                  <a:lnTo>
                    <a:pt x="197" y="44"/>
                  </a:lnTo>
                  <a:lnTo>
                    <a:pt x="180" y="55"/>
                  </a:lnTo>
                  <a:lnTo>
                    <a:pt x="164" y="66"/>
                  </a:lnTo>
                  <a:lnTo>
                    <a:pt x="149" y="79"/>
                  </a:lnTo>
                  <a:lnTo>
                    <a:pt x="134" y="93"/>
                  </a:lnTo>
                  <a:lnTo>
                    <a:pt x="121" y="108"/>
                  </a:lnTo>
                  <a:lnTo>
                    <a:pt x="108" y="123"/>
                  </a:lnTo>
                  <a:lnTo>
                    <a:pt x="96" y="140"/>
                  </a:lnTo>
                  <a:lnTo>
                    <a:pt x="85" y="157"/>
                  </a:lnTo>
                  <a:lnTo>
                    <a:pt x="74" y="175"/>
                  </a:lnTo>
                  <a:lnTo>
                    <a:pt x="64" y="193"/>
                  </a:lnTo>
                  <a:lnTo>
                    <a:pt x="55" y="212"/>
                  </a:lnTo>
                  <a:lnTo>
                    <a:pt x="47" y="232"/>
                  </a:lnTo>
                  <a:lnTo>
                    <a:pt x="39" y="251"/>
                  </a:lnTo>
                  <a:lnTo>
                    <a:pt x="32" y="272"/>
                  </a:lnTo>
                  <a:lnTo>
                    <a:pt x="26" y="292"/>
                  </a:lnTo>
                  <a:lnTo>
                    <a:pt x="21" y="313"/>
                  </a:lnTo>
                  <a:lnTo>
                    <a:pt x="16" y="334"/>
                  </a:lnTo>
                  <a:lnTo>
                    <a:pt x="12" y="355"/>
                  </a:lnTo>
                  <a:lnTo>
                    <a:pt x="8" y="376"/>
                  </a:lnTo>
                  <a:lnTo>
                    <a:pt x="5" y="398"/>
                  </a:lnTo>
                  <a:lnTo>
                    <a:pt x="3" y="419"/>
                  </a:lnTo>
                  <a:lnTo>
                    <a:pt x="1" y="442"/>
                  </a:lnTo>
                  <a:lnTo>
                    <a:pt x="0" y="463"/>
                  </a:lnTo>
                  <a:lnTo>
                    <a:pt x="0" y="484"/>
                  </a:lnTo>
                  <a:lnTo>
                    <a:pt x="0" y="504"/>
                  </a:lnTo>
                  <a:lnTo>
                    <a:pt x="1" y="523"/>
                  </a:lnTo>
                  <a:lnTo>
                    <a:pt x="3" y="542"/>
                  </a:lnTo>
                  <a:lnTo>
                    <a:pt x="5" y="560"/>
                  </a:lnTo>
                  <a:lnTo>
                    <a:pt x="8" y="578"/>
                  </a:lnTo>
                  <a:lnTo>
                    <a:pt x="11" y="594"/>
                  </a:lnTo>
                  <a:lnTo>
                    <a:pt x="15" y="610"/>
                  </a:lnTo>
                  <a:lnTo>
                    <a:pt x="20" y="626"/>
                  </a:lnTo>
                  <a:lnTo>
                    <a:pt x="25" y="641"/>
                  </a:lnTo>
                  <a:lnTo>
                    <a:pt x="31" y="655"/>
                  </a:lnTo>
                  <a:lnTo>
                    <a:pt x="38" y="668"/>
                  </a:lnTo>
                  <a:lnTo>
                    <a:pt x="45" y="681"/>
                  </a:lnTo>
                  <a:lnTo>
                    <a:pt x="52" y="693"/>
                  </a:lnTo>
                  <a:lnTo>
                    <a:pt x="61" y="705"/>
                  </a:lnTo>
                  <a:lnTo>
                    <a:pt x="70" y="716"/>
                  </a:lnTo>
                  <a:lnTo>
                    <a:pt x="80" y="727"/>
                  </a:lnTo>
                  <a:lnTo>
                    <a:pt x="90" y="737"/>
                  </a:lnTo>
                  <a:lnTo>
                    <a:pt x="101" y="746"/>
                  </a:lnTo>
                  <a:lnTo>
                    <a:pt x="112" y="754"/>
                  </a:lnTo>
                  <a:lnTo>
                    <a:pt x="125" y="762"/>
                  </a:lnTo>
                  <a:lnTo>
                    <a:pt x="137" y="769"/>
                  </a:lnTo>
                  <a:lnTo>
                    <a:pt x="151" y="776"/>
                  </a:lnTo>
                  <a:lnTo>
                    <a:pt x="165" y="782"/>
                  </a:lnTo>
                  <a:lnTo>
                    <a:pt x="180" y="787"/>
                  </a:lnTo>
                  <a:lnTo>
                    <a:pt x="195" y="791"/>
                  </a:lnTo>
                  <a:lnTo>
                    <a:pt x="211" y="795"/>
                  </a:lnTo>
                  <a:lnTo>
                    <a:pt x="228" y="799"/>
                  </a:lnTo>
                  <a:lnTo>
                    <a:pt x="246" y="802"/>
                  </a:lnTo>
                  <a:lnTo>
                    <a:pt x="264" y="804"/>
                  </a:lnTo>
                  <a:lnTo>
                    <a:pt x="283" y="805"/>
                  </a:lnTo>
                  <a:lnTo>
                    <a:pt x="303" y="806"/>
                  </a:lnTo>
                  <a:lnTo>
                    <a:pt x="323" y="806"/>
                  </a:lnTo>
                  <a:lnTo>
                    <a:pt x="344" y="806"/>
                  </a:lnTo>
                  <a:lnTo>
                    <a:pt x="365" y="805"/>
                  </a:lnTo>
                  <a:lnTo>
                    <a:pt x="385" y="803"/>
                  </a:lnTo>
                  <a:lnTo>
                    <a:pt x="406" y="800"/>
                  </a:lnTo>
                  <a:lnTo>
                    <a:pt x="426" y="797"/>
                  </a:lnTo>
                  <a:lnTo>
                    <a:pt x="446" y="793"/>
                  </a:lnTo>
                  <a:lnTo>
                    <a:pt x="465" y="788"/>
                  </a:lnTo>
                  <a:lnTo>
                    <a:pt x="483" y="782"/>
                  </a:lnTo>
                  <a:lnTo>
                    <a:pt x="499" y="693"/>
                  </a:lnTo>
                  <a:lnTo>
                    <a:pt x="469" y="699"/>
                  </a:lnTo>
                  <a:lnTo>
                    <a:pt x="439" y="704"/>
                  </a:lnTo>
                  <a:lnTo>
                    <a:pt x="424" y="706"/>
                  </a:lnTo>
                  <a:lnTo>
                    <a:pt x="409" y="708"/>
                  </a:lnTo>
                  <a:lnTo>
                    <a:pt x="394" y="709"/>
                  </a:lnTo>
                  <a:lnTo>
                    <a:pt x="379" y="709"/>
                  </a:lnTo>
                  <a:lnTo>
                    <a:pt x="363" y="709"/>
                  </a:lnTo>
                  <a:lnTo>
                    <a:pt x="347" y="708"/>
                  </a:lnTo>
                  <a:lnTo>
                    <a:pt x="332" y="707"/>
                  </a:lnTo>
                  <a:lnTo>
                    <a:pt x="317" y="705"/>
                  </a:lnTo>
                  <a:lnTo>
                    <a:pt x="304" y="703"/>
                  </a:lnTo>
                  <a:lnTo>
                    <a:pt x="290" y="701"/>
                  </a:lnTo>
                  <a:lnTo>
                    <a:pt x="278" y="697"/>
                  </a:lnTo>
                  <a:lnTo>
                    <a:pt x="264" y="694"/>
                  </a:lnTo>
                  <a:lnTo>
                    <a:pt x="253" y="690"/>
                  </a:lnTo>
                  <a:lnTo>
                    <a:pt x="242" y="685"/>
                  </a:lnTo>
                  <a:lnTo>
                    <a:pt x="231" y="680"/>
                  </a:lnTo>
                  <a:lnTo>
                    <a:pt x="221" y="674"/>
                  </a:lnTo>
                  <a:lnTo>
                    <a:pt x="212" y="668"/>
                  </a:lnTo>
                  <a:lnTo>
                    <a:pt x="203" y="662"/>
                  </a:lnTo>
                  <a:lnTo>
                    <a:pt x="195" y="654"/>
                  </a:lnTo>
                  <a:lnTo>
                    <a:pt x="187" y="647"/>
                  </a:lnTo>
                  <a:lnTo>
                    <a:pt x="180" y="639"/>
                  </a:lnTo>
                  <a:lnTo>
                    <a:pt x="173" y="630"/>
                  </a:lnTo>
                  <a:lnTo>
                    <a:pt x="167" y="621"/>
                  </a:lnTo>
                  <a:lnTo>
                    <a:pt x="161" y="611"/>
                  </a:lnTo>
                  <a:lnTo>
                    <a:pt x="156" y="601"/>
                  </a:lnTo>
                  <a:lnTo>
                    <a:pt x="151" y="590"/>
                  </a:lnTo>
                  <a:lnTo>
                    <a:pt x="147" y="579"/>
                  </a:lnTo>
                  <a:lnTo>
                    <a:pt x="143" y="567"/>
                  </a:lnTo>
                  <a:lnTo>
                    <a:pt x="139" y="554"/>
                  </a:lnTo>
                  <a:lnTo>
                    <a:pt x="137" y="541"/>
                  </a:lnTo>
                  <a:lnTo>
                    <a:pt x="134" y="528"/>
                  </a:lnTo>
                  <a:lnTo>
                    <a:pt x="132" y="514"/>
                  </a:lnTo>
                  <a:lnTo>
                    <a:pt x="130" y="484"/>
                  </a:lnTo>
                  <a:lnTo>
                    <a:pt x="129" y="452"/>
                  </a:lnTo>
                  <a:lnTo>
                    <a:pt x="129" y="436"/>
                  </a:lnTo>
                  <a:lnTo>
                    <a:pt x="130" y="421"/>
                  </a:lnTo>
                  <a:lnTo>
                    <a:pt x="132" y="406"/>
                  </a:lnTo>
                  <a:lnTo>
                    <a:pt x="134" y="391"/>
                  </a:lnTo>
                  <a:lnTo>
                    <a:pt x="139" y="361"/>
                  </a:lnTo>
                  <a:lnTo>
                    <a:pt x="145" y="330"/>
                  </a:lnTo>
                  <a:lnTo>
                    <a:pt x="589" y="330"/>
                  </a:lnTo>
                  <a:lnTo>
                    <a:pt x="595" y="305"/>
                  </a:lnTo>
                  <a:lnTo>
                    <a:pt x="600" y="277"/>
                  </a:lnTo>
                  <a:lnTo>
                    <a:pt x="602" y="263"/>
                  </a:lnTo>
                  <a:lnTo>
                    <a:pt x="604" y="248"/>
                  </a:lnTo>
                  <a:lnTo>
                    <a:pt x="605" y="233"/>
                  </a:lnTo>
                  <a:lnTo>
                    <a:pt x="605" y="21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  <a:cs typeface="+mn-cs"/>
              </a:endParaRPr>
            </a:p>
          </p:txBody>
        </p:sp>
        <p:sp>
          <p:nvSpPr>
            <p:cNvPr id="40" name="Freeform 36"/>
            <p:cNvSpPr>
              <a:spLocks/>
            </p:cNvSpPr>
            <p:nvPr/>
          </p:nvSpPr>
          <p:spPr bwMode="gray">
            <a:xfrm>
              <a:off x="3563938" y="3751263"/>
              <a:ext cx="114300" cy="169862"/>
            </a:xfrm>
            <a:custGeom>
              <a:avLst/>
              <a:gdLst/>
              <a:ahLst/>
              <a:cxnLst>
                <a:cxn ang="0">
                  <a:pos x="500" y="120"/>
                </a:cxn>
                <a:cxn ang="0">
                  <a:pos x="480" y="121"/>
                </a:cxn>
                <a:cxn ang="0">
                  <a:pos x="459" y="123"/>
                </a:cxn>
                <a:cxn ang="0">
                  <a:pos x="440" y="125"/>
                </a:cxn>
                <a:cxn ang="0">
                  <a:pos x="422" y="129"/>
                </a:cxn>
                <a:cxn ang="0">
                  <a:pos x="405" y="134"/>
                </a:cxn>
                <a:cxn ang="0">
                  <a:pos x="389" y="139"/>
                </a:cxn>
                <a:cxn ang="0">
                  <a:pos x="373" y="146"/>
                </a:cxn>
                <a:cxn ang="0">
                  <a:pos x="359" y="153"/>
                </a:cxn>
                <a:cxn ang="0">
                  <a:pos x="345" y="163"/>
                </a:cxn>
                <a:cxn ang="0">
                  <a:pos x="331" y="172"/>
                </a:cxn>
                <a:cxn ang="0">
                  <a:pos x="319" y="182"/>
                </a:cxn>
                <a:cxn ang="0">
                  <a:pos x="307" y="192"/>
                </a:cxn>
                <a:cxn ang="0">
                  <a:pos x="295" y="203"/>
                </a:cxn>
                <a:cxn ang="0">
                  <a:pos x="285" y="215"/>
                </a:cxn>
                <a:cxn ang="0">
                  <a:pos x="275" y="228"/>
                </a:cxn>
                <a:cxn ang="0">
                  <a:pos x="265" y="241"/>
                </a:cxn>
                <a:cxn ang="0">
                  <a:pos x="256" y="255"/>
                </a:cxn>
                <a:cxn ang="0">
                  <a:pos x="248" y="269"/>
                </a:cxn>
                <a:cxn ang="0">
                  <a:pos x="240" y="283"/>
                </a:cxn>
                <a:cxn ang="0">
                  <a:pos x="232" y="298"/>
                </a:cxn>
                <a:cxn ang="0">
                  <a:pos x="219" y="330"/>
                </a:cxn>
                <a:cxn ang="0">
                  <a:pos x="207" y="362"/>
                </a:cxn>
                <a:cxn ang="0">
                  <a:pos x="196" y="396"/>
                </a:cxn>
                <a:cxn ang="0">
                  <a:pos x="186" y="430"/>
                </a:cxn>
                <a:cxn ang="0">
                  <a:pos x="177" y="465"/>
                </a:cxn>
                <a:cxn ang="0">
                  <a:pos x="169" y="500"/>
                </a:cxn>
                <a:cxn ang="0">
                  <a:pos x="121" y="790"/>
                </a:cxn>
                <a:cxn ang="0">
                  <a:pos x="0" y="790"/>
                </a:cxn>
                <a:cxn ang="0">
                  <a:pos x="153" y="16"/>
                </a:cxn>
                <a:cxn ang="0">
                  <a:pos x="266" y="16"/>
                </a:cxn>
                <a:cxn ang="0">
                  <a:pos x="234" y="170"/>
                </a:cxn>
                <a:cxn ang="0">
                  <a:pos x="242" y="170"/>
                </a:cxn>
                <a:cxn ang="0">
                  <a:pos x="253" y="147"/>
                </a:cxn>
                <a:cxn ang="0">
                  <a:pos x="265" y="127"/>
                </a:cxn>
                <a:cxn ang="0">
                  <a:pos x="278" y="108"/>
                </a:cxn>
                <a:cxn ang="0">
                  <a:pos x="292" y="91"/>
                </a:cxn>
                <a:cxn ang="0">
                  <a:pos x="306" y="76"/>
                </a:cxn>
                <a:cxn ang="0">
                  <a:pos x="322" y="62"/>
                </a:cxn>
                <a:cxn ang="0">
                  <a:pos x="338" y="50"/>
                </a:cxn>
                <a:cxn ang="0">
                  <a:pos x="356" y="39"/>
                </a:cxn>
                <a:cxn ang="0">
                  <a:pos x="374" y="30"/>
                </a:cxn>
                <a:cxn ang="0">
                  <a:pos x="393" y="22"/>
                </a:cxn>
                <a:cxn ang="0">
                  <a:pos x="413" y="15"/>
                </a:cxn>
                <a:cxn ang="0">
                  <a:pos x="433" y="9"/>
                </a:cxn>
                <a:cxn ang="0">
                  <a:pos x="455" y="5"/>
                </a:cxn>
                <a:cxn ang="0">
                  <a:pos x="478" y="2"/>
                </a:cxn>
                <a:cxn ang="0">
                  <a:pos x="501" y="0"/>
                </a:cxn>
                <a:cxn ang="0">
                  <a:pos x="524" y="0"/>
                </a:cxn>
                <a:cxn ang="0">
                  <a:pos x="500" y="120"/>
                </a:cxn>
              </a:cxnLst>
              <a:rect l="0" t="0" r="r" b="b"/>
              <a:pathLst>
                <a:path w="524" h="790">
                  <a:moveTo>
                    <a:pt x="500" y="120"/>
                  </a:moveTo>
                  <a:lnTo>
                    <a:pt x="480" y="121"/>
                  </a:lnTo>
                  <a:lnTo>
                    <a:pt x="459" y="123"/>
                  </a:lnTo>
                  <a:lnTo>
                    <a:pt x="440" y="125"/>
                  </a:lnTo>
                  <a:lnTo>
                    <a:pt x="422" y="129"/>
                  </a:lnTo>
                  <a:lnTo>
                    <a:pt x="405" y="134"/>
                  </a:lnTo>
                  <a:lnTo>
                    <a:pt x="389" y="139"/>
                  </a:lnTo>
                  <a:lnTo>
                    <a:pt x="373" y="146"/>
                  </a:lnTo>
                  <a:lnTo>
                    <a:pt x="359" y="153"/>
                  </a:lnTo>
                  <a:lnTo>
                    <a:pt x="345" y="163"/>
                  </a:lnTo>
                  <a:lnTo>
                    <a:pt x="331" y="172"/>
                  </a:lnTo>
                  <a:lnTo>
                    <a:pt x="319" y="182"/>
                  </a:lnTo>
                  <a:lnTo>
                    <a:pt x="307" y="192"/>
                  </a:lnTo>
                  <a:lnTo>
                    <a:pt x="295" y="203"/>
                  </a:lnTo>
                  <a:lnTo>
                    <a:pt x="285" y="215"/>
                  </a:lnTo>
                  <a:lnTo>
                    <a:pt x="275" y="228"/>
                  </a:lnTo>
                  <a:lnTo>
                    <a:pt x="265" y="241"/>
                  </a:lnTo>
                  <a:lnTo>
                    <a:pt x="256" y="255"/>
                  </a:lnTo>
                  <a:lnTo>
                    <a:pt x="248" y="269"/>
                  </a:lnTo>
                  <a:lnTo>
                    <a:pt x="240" y="283"/>
                  </a:lnTo>
                  <a:lnTo>
                    <a:pt x="232" y="298"/>
                  </a:lnTo>
                  <a:lnTo>
                    <a:pt x="219" y="330"/>
                  </a:lnTo>
                  <a:lnTo>
                    <a:pt x="207" y="362"/>
                  </a:lnTo>
                  <a:lnTo>
                    <a:pt x="196" y="396"/>
                  </a:lnTo>
                  <a:lnTo>
                    <a:pt x="186" y="430"/>
                  </a:lnTo>
                  <a:lnTo>
                    <a:pt x="177" y="465"/>
                  </a:lnTo>
                  <a:lnTo>
                    <a:pt x="169" y="500"/>
                  </a:lnTo>
                  <a:lnTo>
                    <a:pt x="121" y="790"/>
                  </a:lnTo>
                  <a:lnTo>
                    <a:pt x="0" y="790"/>
                  </a:lnTo>
                  <a:lnTo>
                    <a:pt x="153" y="16"/>
                  </a:lnTo>
                  <a:lnTo>
                    <a:pt x="266" y="16"/>
                  </a:lnTo>
                  <a:lnTo>
                    <a:pt x="234" y="170"/>
                  </a:lnTo>
                  <a:lnTo>
                    <a:pt x="242" y="170"/>
                  </a:lnTo>
                  <a:lnTo>
                    <a:pt x="253" y="147"/>
                  </a:lnTo>
                  <a:lnTo>
                    <a:pt x="265" y="127"/>
                  </a:lnTo>
                  <a:lnTo>
                    <a:pt x="278" y="108"/>
                  </a:lnTo>
                  <a:lnTo>
                    <a:pt x="292" y="91"/>
                  </a:lnTo>
                  <a:lnTo>
                    <a:pt x="306" y="76"/>
                  </a:lnTo>
                  <a:lnTo>
                    <a:pt x="322" y="62"/>
                  </a:lnTo>
                  <a:lnTo>
                    <a:pt x="338" y="50"/>
                  </a:lnTo>
                  <a:lnTo>
                    <a:pt x="356" y="39"/>
                  </a:lnTo>
                  <a:lnTo>
                    <a:pt x="374" y="30"/>
                  </a:lnTo>
                  <a:lnTo>
                    <a:pt x="393" y="22"/>
                  </a:lnTo>
                  <a:lnTo>
                    <a:pt x="413" y="15"/>
                  </a:lnTo>
                  <a:lnTo>
                    <a:pt x="433" y="9"/>
                  </a:lnTo>
                  <a:lnTo>
                    <a:pt x="455" y="5"/>
                  </a:lnTo>
                  <a:lnTo>
                    <a:pt x="478" y="2"/>
                  </a:lnTo>
                  <a:lnTo>
                    <a:pt x="501" y="0"/>
                  </a:lnTo>
                  <a:lnTo>
                    <a:pt x="524" y="0"/>
                  </a:lnTo>
                  <a:lnTo>
                    <a:pt x="500" y="1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  <a:cs typeface="+mn-cs"/>
              </a:endParaRPr>
            </a:p>
          </p:txBody>
        </p:sp>
        <p:sp>
          <p:nvSpPr>
            <p:cNvPr id="41" name="Freeform 37"/>
            <p:cNvSpPr>
              <a:spLocks noEditPoints="1"/>
            </p:cNvSpPr>
            <p:nvPr/>
          </p:nvSpPr>
          <p:spPr bwMode="gray">
            <a:xfrm>
              <a:off x="3665538" y="3751263"/>
              <a:ext cx="130175" cy="173037"/>
            </a:xfrm>
            <a:custGeom>
              <a:avLst/>
              <a:gdLst/>
              <a:ahLst/>
              <a:cxnLst>
                <a:cxn ang="0">
                  <a:pos x="483" y="229"/>
                </a:cxn>
                <a:cxn ang="0">
                  <a:pos x="161" y="242"/>
                </a:cxn>
                <a:cxn ang="0">
                  <a:pos x="182" y="195"/>
                </a:cxn>
                <a:cxn ang="0">
                  <a:pos x="209" y="154"/>
                </a:cxn>
                <a:cxn ang="0">
                  <a:pos x="242" y="122"/>
                </a:cxn>
                <a:cxn ang="0">
                  <a:pos x="285" y="100"/>
                </a:cxn>
                <a:cxn ang="0">
                  <a:pos x="336" y="89"/>
                </a:cxn>
                <a:cxn ang="0">
                  <a:pos x="383" y="90"/>
                </a:cxn>
                <a:cxn ang="0">
                  <a:pos x="420" y="102"/>
                </a:cxn>
                <a:cxn ang="0">
                  <a:pos x="449" y="121"/>
                </a:cxn>
                <a:cxn ang="0">
                  <a:pos x="470" y="149"/>
                </a:cxn>
                <a:cxn ang="0">
                  <a:pos x="481" y="184"/>
                </a:cxn>
                <a:cxn ang="0">
                  <a:pos x="605" y="218"/>
                </a:cxn>
                <a:cxn ang="0">
                  <a:pos x="602" y="181"/>
                </a:cxn>
                <a:cxn ang="0">
                  <a:pos x="594" y="146"/>
                </a:cxn>
                <a:cxn ang="0">
                  <a:pos x="580" y="116"/>
                </a:cxn>
                <a:cxn ang="0">
                  <a:pos x="563" y="88"/>
                </a:cxn>
                <a:cxn ang="0">
                  <a:pos x="541" y="64"/>
                </a:cxn>
                <a:cxn ang="0">
                  <a:pos x="514" y="44"/>
                </a:cxn>
                <a:cxn ang="0">
                  <a:pos x="476" y="23"/>
                </a:cxn>
                <a:cxn ang="0">
                  <a:pos x="410" y="4"/>
                </a:cxn>
                <a:cxn ang="0">
                  <a:pos x="339" y="1"/>
                </a:cxn>
                <a:cxn ang="0">
                  <a:pos x="273" y="11"/>
                </a:cxn>
                <a:cxn ang="0">
                  <a:pos x="214" y="34"/>
                </a:cxn>
                <a:cxn ang="0">
                  <a:pos x="164" y="66"/>
                </a:cxn>
                <a:cxn ang="0">
                  <a:pos x="121" y="108"/>
                </a:cxn>
                <a:cxn ang="0">
                  <a:pos x="85" y="157"/>
                </a:cxn>
                <a:cxn ang="0">
                  <a:pos x="55" y="212"/>
                </a:cxn>
                <a:cxn ang="0">
                  <a:pos x="32" y="272"/>
                </a:cxn>
                <a:cxn ang="0">
                  <a:pos x="16" y="334"/>
                </a:cxn>
                <a:cxn ang="0">
                  <a:pos x="5" y="398"/>
                </a:cxn>
                <a:cxn ang="0">
                  <a:pos x="1" y="463"/>
                </a:cxn>
                <a:cxn ang="0">
                  <a:pos x="1" y="523"/>
                </a:cxn>
                <a:cxn ang="0">
                  <a:pos x="8" y="578"/>
                </a:cxn>
                <a:cxn ang="0">
                  <a:pos x="20" y="626"/>
                </a:cxn>
                <a:cxn ang="0">
                  <a:pos x="38" y="668"/>
                </a:cxn>
                <a:cxn ang="0">
                  <a:pos x="61" y="705"/>
                </a:cxn>
                <a:cxn ang="0">
                  <a:pos x="90" y="737"/>
                </a:cxn>
                <a:cxn ang="0">
                  <a:pos x="125" y="762"/>
                </a:cxn>
                <a:cxn ang="0">
                  <a:pos x="165" y="782"/>
                </a:cxn>
                <a:cxn ang="0">
                  <a:pos x="211" y="795"/>
                </a:cxn>
                <a:cxn ang="0">
                  <a:pos x="265" y="804"/>
                </a:cxn>
                <a:cxn ang="0">
                  <a:pos x="323" y="806"/>
                </a:cxn>
                <a:cxn ang="0">
                  <a:pos x="383" y="803"/>
                </a:cxn>
                <a:cxn ang="0">
                  <a:pos x="442" y="793"/>
                </a:cxn>
                <a:cxn ang="0">
                  <a:pos x="499" y="693"/>
                </a:cxn>
                <a:cxn ang="0">
                  <a:pos x="424" y="706"/>
                </a:cxn>
                <a:cxn ang="0">
                  <a:pos x="379" y="709"/>
                </a:cxn>
                <a:cxn ang="0">
                  <a:pos x="332" y="707"/>
                </a:cxn>
                <a:cxn ang="0">
                  <a:pos x="290" y="701"/>
                </a:cxn>
                <a:cxn ang="0">
                  <a:pos x="253" y="690"/>
                </a:cxn>
                <a:cxn ang="0">
                  <a:pos x="221" y="674"/>
                </a:cxn>
                <a:cxn ang="0">
                  <a:pos x="195" y="654"/>
                </a:cxn>
                <a:cxn ang="0">
                  <a:pos x="173" y="630"/>
                </a:cxn>
                <a:cxn ang="0">
                  <a:pos x="156" y="601"/>
                </a:cxn>
                <a:cxn ang="0">
                  <a:pos x="143" y="567"/>
                </a:cxn>
                <a:cxn ang="0">
                  <a:pos x="134" y="528"/>
                </a:cxn>
                <a:cxn ang="0">
                  <a:pos x="129" y="452"/>
                </a:cxn>
                <a:cxn ang="0">
                  <a:pos x="131" y="376"/>
                </a:cxn>
                <a:cxn ang="0">
                  <a:pos x="137" y="330"/>
                </a:cxn>
                <a:cxn ang="0">
                  <a:pos x="600" y="277"/>
                </a:cxn>
                <a:cxn ang="0">
                  <a:pos x="605" y="233"/>
                </a:cxn>
              </a:cxnLst>
              <a:rect l="0" t="0" r="r" b="b"/>
              <a:pathLst>
                <a:path w="605" h="806">
                  <a:moveTo>
                    <a:pt x="483" y="210"/>
                  </a:moveTo>
                  <a:lnTo>
                    <a:pt x="483" y="221"/>
                  </a:lnTo>
                  <a:lnTo>
                    <a:pt x="483" y="229"/>
                  </a:lnTo>
                  <a:lnTo>
                    <a:pt x="483" y="236"/>
                  </a:lnTo>
                  <a:lnTo>
                    <a:pt x="483" y="242"/>
                  </a:lnTo>
                  <a:lnTo>
                    <a:pt x="161" y="242"/>
                  </a:lnTo>
                  <a:lnTo>
                    <a:pt x="167" y="226"/>
                  </a:lnTo>
                  <a:lnTo>
                    <a:pt x="174" y="210"/>
                  </a:lnTo>
                  <a:lnTo>
                    <a:pt x="182" y="195"/>
                  </a:lnTo>
                  <a:lnTo>
                    <a:pt x="190" y="181"/>
                  </a:lnTo>
                  <a:lnTo>
                    <a:pt x="199" y="167"/>
                  </a:lnTo>
                  <a:lnTo>
                    <a:pt x="209" y="154"/>
                  </a:lnTo>
                  <a:lnTo>
                    <a:pt x="219" y="142"/>
                  </a:lnTo>
                  <a:lnTo>
                    <a:pt x="230" y="131"/>
                  </a:lnTo>
                  <a:lnTo>
                    <a:pt x="242" y="122"/>
                  </a:lnTo>
                  <a:lnTo>
                    <a:pt x="255" y="113"/>
                  </a:lnTo>
                  <a:lnTo>
                    <a:pt x="270" y="106"/>
                  </a:lnTo>
                  <a:lnTo>
                    <a:pt x="285" y="100"/>
                  </a:lnTo>
                  <a:lnTo>
                    <a:pt x="301" y="95"/>
                  </a:lnTo>
                  <a:lnTo>
                    <a:pt x="318" y="91"/>
                  </a:lnTo>
                  <a:lnTo>
                    <a:pt x="336" y="89"/>
                  </a:lnTo>
                  <a:lnTo>
                    <a:pt x="355" y="88"/>
                  </a:lnTo>
                  <a:lnTo>
                    <a:pt x="369" y="89"/>
                  </a:lnTo>
                  <a:lnTo>
                    <a:pt x="383" y="90"/>
                  </a:lnTo>
                  <a:lnTo>
                    <a:pt x="396" y="93"/>
                  </a:lnTo>
                  <a:lnTo>
                    <a:pt x="409" y="97"/>
                  </a:lnTo>
                  <a:lnTo>
                    <a:pt x="420" y="102"/>
                  </a:lnTo>
                  <a:lnTo>
                    <a:pt x="431" y="107"/>
                  </a:lnTo>
                  <a:lnTo>
                    <a:pt x="440" y="114"/>
                  </a:lnTo>
                  <a:lnTo>
                    <a:pt x="449" y="121"/>
                  </a:lnTo>
                  <a:lnTo>
                    <a:pt x="457" y="130"/>
                  </a:lnTo>
                  <a:lnTo>
                    <a:pt x="464" y="139"/>
                  </a:lnTo>
                  <a:lnTo>
                    <a:pt x="470" y="149"/>
                  </a:lnTo>
                  <a:lnTo>
                    <a:pt x="475" y="159"/>
                  </a:lnTo>
                  <a:lnTo>
                    <a:pt x="478" y="172"/>
                  </a:lnTo>
                  <a:lnTo>
                    <a:pt x="481" y="184"/>
                  </a:lnTo>
                  <a:lnTo>
                    <a:pt x="483" y="197"/>
                  </a:lnTo>
                  <a:lnTo>
                    <a:pt x="483" y="210"/>
                  </a:lnTo>
                  <a:close/>
                  <a:moveTo>
                    <a:pt x="605" y="218"/>
                  </a:moveTo>
                  <a:lnTo>
                    <a:pt x="605" y="205"/>
                  </a:lnTo>
                  <a:lnTo>
                    <a:pt x="604" y="193"/>
                  </a:lnTo>
                  <a:lnTo>
                    <a:pt x="602" y="181"/>
                  </a:lnTo>
                  <a:lnTo>
                    <a:pt x="600" y="169"/>
                  </a:lnTo>
                  <a:lnTo>
                    <a:pt x="597" y="157"/>
                  </a:lnTo>
                  <a:lnTo>
                    <a:pt x="594" y="146"/>
                  </a:lnTo>
                  <a:lnTo>
                    <a:pt x="590" y="136"/>
                  </a:lnTo>
                  <a:lnTo>
                    <a:pt x="585" y="125"/>
                  </a:lnTo>
                  <a:lnTo>
                    <a:pt x="580" y="116"/>
                  </a:lnTo>
                  <a:lnTo>
                    <a:pt x="575" y="106"/>
                  </a:lnTo>
                  <a:lnTo>
                    <a:pt x="569" y="97"/>
                  </a:lnTo>
                  <a:lnTo>
                    <a:pt x="563" y="88"/>
                  </a:lnTo>
                  <a:lnTo>
                    <a:pt x="556" y="80"/>
                  </a:lnTo>
                  <a:lnTo>
                    <a:pt x="548" y="72"/>
                  </a:lnTo>
                  <a:lnTo>
                    <a:pt x="541" y="64"/>
                  </a:lnTo>
                  <a:lnTo>
                    <a:pt x="532" y="57"/>
                  </a:lnTo>
                  <a:lnTo>
                    <a:pt x="523" y="50"/>
                  </a:lnTo>
                  <a:lnTo>
                    <a:pt x="514" y="44"/>
                  </a:lnTo>
                  <a:lnTo>
                    <a:pt x="505" y="38"/>
                  </a:lnTo>
                  <a:lnTo>
                    <a:pt x="496" y="33"/>
                  </a:lnTo>
                  <a:lnTo>
                    <a:pt x="476" y="23"/>
                  </a:lnTo>
                  <a:lnTo>
                    <a:pt x="455" y="15"/>
                  </a:lnTo>
                  <a:lnTo>
                    <a:pt x="433" y="8"/>
                  </a:lnTo>
                  <a:lnTo>
                    <a:pt x="410" y="4"/>
                  </a:lnTo>
                  <a:lnTo>
                    <a:pt x="387" y="1"/>
                  </a:lnTo>
                  <a:lnTo>
                    <a:pt x="363" y="0"/>
                  </a:lnTo>
                  <a:lnTo>
                    <a:pt x="339" y="1"/>
                  </a:lnTo>
                  <a:lnTo>
                    <a:pt x="316" y="3"/>
                  </a:lnTo>
                  <a:lnTo>
                    <a:pt x="294" y="6"/>
                  </a:lnTo>
                  <a:lnTo>
                    <a:pt x="273" y="11"/>
                  </a:lnTo>
                  <a:lnTo>
                    <a:pt x="252" y="18"/>
                  </a:lnTo>
                  <a:lnTo>
                    <a:pt x="233" y="25"/>
                  </a:lnTo>
                  <a:lnTo>
                    <a:pt x="214" y="34"/>
                  </a:lnTo>
                  <a:lnTo>
                    <a:pt x="197" y="44"/>
                  </a:lnTo>
                  <a:lnTo>
                    <a:pt x="180" y="55"/>
                  </a:lnTo>
                  <a:lnTo>
                    <a:pt x="164" y="66"/>
                  </a:lnTo>
                  <a:lnTo>
                    <a:pt x="149" y="79"/>
                  </a:lnTo>
                  <a:lnTo>
                    <a:pt x="134" y="93"/>
                  </a:lnTo>
                  <a:lnTo>
                    <a:pt x="121" y="108"/>
                  </a:lnTo>
                  <a:lnTo>
                    <a:pt x="108" y="123"/>
                  </a:lnTo>
                  <a:lnTo>
                    <a:pt x="96" y="140"/>
                  </a:lnTo>
                  <a:lnTo>
                    <a:pt x="85" y="157"/>
                  </a:lnTo>
                  <a:lnTo>
                    <a:pt x="74" y="175"/>
                  </a:lnTo>
                  <a:lnTo>
                    <a:pt x="64" y="193"/>
                  </a:lnTo>
                  <a:lnTo>
                    <a:pt x="55" y="212"/>
                  </a:lnTo>
                  <a:lnTo>
                    <a:pt x="47" y="232"/>
                  </a:lnTo>
                  <a:lnTo>
                    <a:pt x="39" y="251"/>
                  </a:lnTo>
                  <a:lnTo>
                    <a:pt x="32" y="272"/>
                  </a:lnTo>
                  <a:lnTo>
                    <a:pt x="26" y="292"/>
                  </a:lnTo>
                  <a:lnTo>
                    <a:pt x="21" y="313"/>
                  </a:lnTo>
                  <a:lnTo>
                    <a:pt x="16" y="334"/>
                  </a:lnTo>
                  <a:lnTo>
                    <a:pt x="12" y="355"/>
                  </a:lnTo>
                  <a:lnTo>
                    <a:pt x="8" y="376"/>
                  </a:lnTo>
                  <a:lnTo>
                    <a:pt x="5" y="398"/>
                  </a:lnTo>
                  <a:lnTo>
                    <a:pt x="3" y="419"/>
                  </a:lnTo>
                  <a:lnTo>
                    <a:pt x="1" y="442"/>
                  </a:lnTo>
                  <a:lnTo>
                    <a:pt x="1" y="463"/>
                  </a:lnTo>
                  <a:lnTo>
                    <a:pt x="0" y="484"/>
                  </a:lnTo>
                  <a:lnTo>
                    <a:pt x="1" y="504"/>
                  </a:lnTo>
                  <a:lnTo>
                    <a:pt x="1" y="523"/>
                  </a:lnTo>
                  <a:lnTo>
                    <a:pt x="3" y="542"/>
                  </a:lnTo>
                  <a:lnTo>
                    <a:pt x="5" y="560"/>
                  </a:lnTo>
                  <a:lnTo>
                    <a:pt x="8" y="578"/>
                  </a:lnTo>
                  <a:lnTo>
                    <a:pt x="11" y="594"/>
                  </a:lnTo>
                  <a:lnTo>
                    <a:pt x="15" y="610"/>
                  </a:lnTo>
                  <a:lnTo>
                    <a:pt x="20" y="626"/>
                  </a:lnTo>
                  <a:lnTo>
                    <a:pt x="25" y="641"/>
                  </a:lnTo>
                  <a:lnTo>
                    <a:pt x="31" y="655"/>
                  </a:lnTo>
                  <a:lnTo>
                    <a:pt x="38" y="668"/>
                  </a:lnTo>
                  <a:lnTo>
                    <a:pt x="45" y="681"/>
                  </a:lnTo>
                  <a:lnTo>
                    <a:pt x="52" y="693"/>
                  </a:lnTo>
                  <a:lnTo>
                    <a:pt x="61" y="705"/>
                  </a:lnTo>
                  <a:lnTo>
                    <a:pt x="70" y="716"/>
                  </a:lnTo>
                  <a:lnTo>
                    <a:pt x="80" y="727"/>
                  </a:lnTo>
                  <a:lnTo>
                    <a:pt x="90" y="737"/>
                  </a:lnTo>
                  <a:lnTo>
                    <a:pt x="101" y="746"/>
                  </a:lnTo>
                  <a:lnTo>
                    <a:pt x="112" y="754"/>
                  </a:lnTo>
                  <a:lnTo>
                    <a:pt x="125" y="762"/>
                  </a:lnTo>
                  <a:lnTo>
                    <a:pt x="137" y="769"/>
                  </a:lnTo>
                  <a:lnTo>
                    <a:pt x="151" y="776"/>
                  </a:lnTo>
                  <a:lnTo>
                    <a:pt x="165" y="782"/>
                  </a:lnTo>
                  <a:lnTo>
                    <a:pt x="180" y="787"/>
                  </a:lnTo>
                  <a:lnTo>
                    <a:pt x="195" y="791"/>
                  </a:lnTo>
                  <a:lnTo>
                    <a:pt x="211" y="795"/>
                  </a:lnTo>
                  <a:lnTo>
                    <a:pt x="228" y="799"/>
                  </a:lnTo>
                  <a:lnTo>
                    <a:pt x="246" y="802"/>
                  </a:lnTo>
                  <a:lnTo>
                    <a:pt x="265" y="804"/>
                  </a:lnTo>
                  <a:lnTo>
                    <a:pt x="283" y="805"/>
                  </a:lnTo>
                  <a:lnTo>
                    <a:pt x="303" y="806"/>
                  </a:lnTo>
                  <a:lnTo>
                    <a:pt x="323" y="806"/>
                  </a:lnTo>
                  <a:lnTo>
                    <a:pt x="343" y="806"/>
                  </a:lnTo>
                  <a:lnTo>
                    <a:pt x="364" y="805"/>
                  </a:lnTo>
                  <a:lnTo>
                    <a:pt x="383" y="803"/>
                  </a:lnTo>
                  <a:lnTo>
                    <a:pt x="403" y="800"/>
                  </a:lnTo>
                  <a:lnTo>
                    <a:pt x="423" y="797"/>
                  </a:lnTo>
                  <a:lnTo>
                    <a:pt x="442" y="793"/>
                  </a:lnTo>
                  <a:lnTo>
                    <a:pt x="463" y="788"/>
                  </a:lnTo>
                  <a:lnTo>
                    <a:pt x="483" y="782"/>
                  </a:lnTo>
                  <a:lnTo>
                    <a:pt x="499" y="693"/>
                  </a:lnTo>
                  <a:lnTo>
                    <a:pt x="469" y="699"/>
                  </a:lnTo>
                  <a:lnTo>
                    <a:pt x="439" y="704"/>
                  </a:lnTo>
                  <a:lnTo>
                    <a:pt x="424" y="706"/>
                  </a:lnTo>
                  <a:lnTo>
                    <a:pt x="409" y="708"/>
                  </a:lnTo>
                  <a:lnTo>
                    <a:pt x="394" y="709"/>
                  </a:lnTo>
                  <a:lnTo>
                    <a:pt x="379" y="709"/>
                  </a:lnTo>
                  <a:lnTo>
                    <a:pt x="363" y="709"/>
                  </a:lnTo>
                  <a:lnTo>
                    <a:pt x="347" y="708"/>
                  </a:lnTo>
                  <a:lnTo>
                    <a:pt x="332" y="707"/>
                  </a:lnTo>
                  <a:lnTo>
                    <a:pt x="317" y="705"/>
                  </a:lnTo>
                  <a:lnTo>
                    <a:pt x="304" y="703"/>
                  </a:lnTo>
                  <a:lnTo>
                    <a:pt x="290" y="701"/>
                  </a:lnTo>
                  <a:lnTo>
                    <a:pt x="278" y="697"/>
                  </a:lnTo>
                  <a:lnTo>
                    <a:pt x="265" y="694"/>
                  </a:lnTo>
                  <a:lnTo>
                    <a:pt x="253" y="690"/>
                  </a:lnTo>
                  <a:lnTo>
                    <a:pt x="242" y="685"/>
                  </a:lnTo>
                  <a:lnTo>
                    <a:pt x="231" y="680"/>
                  </a:lnTo>
                  <a:lnTo>
                    <a:pt x="221" y="674"/>
                  </a:lnTo>
                  <a:lnTo>
                    <a:pt x="212" y="668"/>
                  </a:lnTo>
                  <a:lnTo>
                    <a:pt x="203" y="662"/>
                  </a:lnTo>
                  <a:lnTo>
                    <a:pt x="195" y="654"/>
                  </a:lnTo>
                  <a:lnTo>
                    <a:pt x="187" y="647"/>
                  </a:lnTo>
                  <a:lnTo>
                    <a:pt x="180" y="639"/>
                  </a:lnTo>
                  <a:lnTo>
                    <a:pt x="173" y="630"/>
                  </a:lnTo>
                  <a:lnTo>
                    <a:pt x="167" y="621"/>
                  </a:lnTo>
                  <a:lnTo>
                    <a:pt x="161" y="611"/>
                  </a:lnTo>
                  <a:lnTo>
                    <a:pt x="156" y="601"/>
                  </a:lnTo>
                  <a:lnTo>
                    <a:pt x="151" y="590"/>
                  </a:lnTo>
                  <a:lnTo>
                    <a:pt x="147" y="579"/>
                  </a:lnTo>
                  <a:lnTo>
                    <a:pt x="143" y="567"/>
                  </a:lnTo>
                  <a:lnTo>
                    <a:pt x="139" y="554"/>
                  </a:lnTo>
                  <a:lnTo>
                    <a:pt x="137" y="541"/>
                  </a:lnTo>
                  <a:lnTo>
                    <a:pt x="134" y="528"/>
                  </a:lnTo>
                  <a:lnTo>
                    <a:pt x="132" y="514"/>
                  </a:lnTo>
                  <a:lnTo>
                    <a:pt x="130" y="484"/>
                  </a:lnTo>
                  <a:lnTo>
                    <a:pt x="129" y="452"/>
                  </a:lnTo>
                  <a:lnTo>
                    <a:pt x="129" y="421"/>
                  </a:lnTo>
                  <a:lnTo>
                    <a:pt x="130" y="391"/>
                  </a:lnTo>
                  <a:lnTo>
                    <a:pt x="131" y="376"/>
                  </a:lnTo>
                  <a:lnTo>
                    <a:pt x="132" y="361"/>
                  </a:lnTo>
                  <a:lnTo>
                    <a:pt x="134" y="345"/>
                  </a:lnTo>
                  <a:lnTo>
                    <a:pt x="137" y="330"/>
                  </a:lnTo>
                  <a:lnTo>
                    <a:pt x="589" y="330"/>
                  </a:lnTo>
                  <a:lnTo>
                    <a:pt x="595" y="305"/>
                  </a:lnTo>
                  <a:lnTo>
                    <a:pt x="600" y="277"/>
                  </a:lnTo>
                  <a:lnTo>
                    <a:pt x="602" y="263"/>
                  </a:lnTo>
                  <a:lnTo>
                    <a:pt x="604" y="248"/>
                  </a:lnTo>
                  <a:lnTo>
                    <a:pt x="605" y="233"/>
                  </a:lnTo>
                  <a:lnTo>
                    <a:pt x="605" y="21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  <a:cs typeface="+mn-cs"/>
              </a:endParaRPr>
            </a:p>
          </p:txBody>
        </p:sp>
        <p:sp>
          <p:nvSpPr>
            <p:cNvPr id="42" name="Freeform 38"/>
            <p:cNvSpPr>
              <a:spLocks noEditPoints="1"/>
            </p:cNvSpPr>
            <p:nvPr/>
          </p:nvSpPr>
          <p:spPr bwMode="gray">
            <a:xfrm>
              <a:off x="3808413" y="3679825"/>
              <a:ext cx="157162" cy="244475"/>
            </a:xfrm>
            <a:custGeom>
              <a:avLst/>
              <a:gdLst/>
              <a:ahLst/>
              <a:cxnLst>
                <a:cxn ang="0">
                  <a:pos x="481" y="686"/>
                </a:cxn>
                <a:cxn ang="0">
                  <a:pos x="464" y="786"/>
                </a:cxn>
                <a:cxn ang="0">
                  <a:pos x="444" y="854"/>
                </a:cxn>
                <a:cxn ang="0">
                  <a:pos x="423" y="902"/>
                </a:cxn>
                <a:cxn ang="0">
                  <a:pos x="398" y="946"/>
                </a:cxn>
                <a:cxn ang="0">
                  <a:pos x="369" y="984"/>
                </a:cxn>
                <a:cxn ang="0">
                  <a:pos x="334" y="1014"/>
                </a:cxn>
                <a:cxn ang="0">
                  <a:pos x="295" y="1033"/>
                </a:cxn>
                <a:cxn ang="0">
                  <a:pos x="250" y="1040"/>
                </a:cxn>
                <a:cxn ang="0">
                  <a:pos x="223" y="1037"/>
                </a:cxn>
                <a:cxn ang="0">
                  <a:pos x="200" y="1030"/>
                </a:cxn>
                <a:cxn ang="0">
                  <a:pos x="181" y="1018"/>
                </a:cxn>
                <a:cxn ang="0">
                  <a:pos x="166" y="1003"/>
                </a:cxn>
                <a:cxn ang="0">
                  <a:pos x="144" y="964"/>
                </a:cxn>
                <a:cxn ang="0">
                  <a:pos x="133" y="918"/>
                </a:cxn>
                <a:cxn ang="0">
                  <a:pos x="129" y="871"/>
                </a:cxn>
                <a:cxn ang="0">
                  <a:pos x="131" y="800"/>
                </a:cxn>
                <a:cxn ang="0">
                  <a:pos x="147" y="697"/>
                </a:cxn>
                <a:cxn ang="0">
                  <a:pos x="178" y="589"/>
                </a:cxn>
                <a:cxn ang="0">
                  <a:pos x="199" y="539"/>
                </a:cxn>
                <a:cxn ang="0">
                  <a:pos x="225" y="495"/>
                </a:cxn>
                <a:cxn ang="0">
                  <a:pos x="256" y="458"/>
                </a:cxn>
                <a:cxn ang="0">
                  <a:pos x="291" y="433"/>
                </a:cxn>
                <a:cxn ang="0">
                  <a:pos x="332" y="420"/>
                </a:cxn>
                <a:cxn ang="0">
                  <a:pos x="365" y="421"/>
                </a:cxn>
                <a:cxn ang="0">
                  <a:pos x="390" y="428"/>
                </a:cxn>
                <a:cxn ang="0">
                  <a:pos x="412" y="439"/>
                </a:cxn>
                <a:cxn ang="0">
                  <a:pos x="430" y="456"/>
                </a:cxn>
                <a:cxn ang="0">
                  <a:pos x="455" y="492"/>
                </a:cxn>
                <a:cxn ang="0">
                  <a:pos x="474" y="542"/>
                </a:cxn>
                <a:cxn ang="0">
                  <a:pos x="483" y="595"/>
                </a:cxn>
                <a:cxn ang="0">
                  <a:pos x="734" y="0"/>
                </a:cxn>
                <a:cxn ang="0">
                  <a:pos x="526" y="453"/>
                </a:cxn>
                <a:cxn ang="0">
                  <a:pos x="501" y="412"/>
                </a:cxn>
                <a:cxn ang="0">
                  <a:pos x="469" y="379"/>
                </a:cxn>
                <a:cxn ang="0">
                  <a:pos x="430" y="353"/>
                </a:cxn>
                <a:cxn ang="0">
                  <a:pos x="386" y="337"/>
                </a:cxn>
                <a:cxn ang="0">
                  <a:pos x="339" y="331"/>
                </a:cxn>
                <a:cxn ang="0">
                  <a:pos x="275" y="339"/>
                </a:cxn>
                <a:cxn ang="0">
                  <a:pos x="218" y="363"/>
                </a:cxn>
                <a:cxn ang="0">
                  <a:pos x="168" y="400"/>
                </a:cxn>
                <a:cxn ang="0">
                  <a:pos x="125" y="448"/>
                </a:cxn>
                <a:cxn ang="0">
                  <a:pos x="89" y="506"/>
                </a:cxn>
                <a:cxn ang="0">
                  <a:pos x="60" y="568"/>
                </a:cxn>
                <a:cxn ang="0">
                  <a:pos x="36" y="634"/>
                </a:cxn>
                <a:cxn ang="0">
                  <a:pos x="19" y="701"/>
                </a:cxn>
                <a:cxn ang="0">
                  <a:pos x="7" y="768"/>
                </a:cxn>
                <a:cxn ang="0">
                  <a:pos x="1" y="832"/>
                </a:cxn>
                <a:cxn ang="0">
                  <a:pos x="1" y="895"/>
                </a:cxn>
                <a:cxn ang="0">
                  <a:pos x="11" y="967"/>
                </a:cxn>
                <a:cxn ang="0">
                  <a:pos x="31" y="1022"/>
                </a:cxn>
                <a:cxn ang="0">
                  <a:pos x="47" y="1053"/>
                </a:cxn>
                <a:cxn ang="0">
                  <a:pos x="68" y="1080"/>
                </a:cxn>
                <a:cxn ang="0">
                  <a:pos x="93" y="1102"/>
                </a:cxn>
                <a:cxn ang="0">
                  <a:pos x="122" y="1119"/>
                </a:cxn>
                <a:cxn ang="0">
                  <a:pos x="156" y="1131"/>
                </a:cxn>
                <a:cxn ang="0">
                  <a:pos x="196" y="1137"/>
                </a:cxn>
                <a:cxn ang="0">
                  <a:pos x="250" y="1135"/>
                </a:cxn>
                <a:cxn ang="0">
                  <a:pos x="300" y="1122"/>
                </a:cxn>
                <a:cxn ang="0">
                  <a:pos x="343" y="1098"/>
                </a:cxn>
                <a:cxn ang="0">
                  <a:pos x="378" y="1066"/>
                </a:cxn>
                <a:cxn ang="0">
                  <a:pos x="408" y="1023"/>
                </a:cxn>
                <a:cxn ang="0">
                  <a:pos x="403" y="1121"/>
                </a:cxn>
              </a:cxnLst>
              <a:rect l="0" t="0" r="r" b="b"/>
              <a:pathLst>
                <a:path w="734" h="1137">
                  <a:moveTo>
                    <a:pt x="484" y="629"/>
                  </a:moveTo>
                  <a:lnTo>
                    <a:pt x="484" y="656"/>
                  </a:lnTo>
                  <a:lnTo>
                    <a:pt x="481" y="686"/>
                  </a:lnTo>
                  <a:lnTo>
                    <a:pt x="477" y="718"/>
                  </a:lnTo>
                  <a:lnTo>
                    <a:pt x="472" y="751"/>
                  </a:lnTo>
                  <a:lnTo>
                    <a:pt x="464" y="786"/>
                  </a:lnTo>
                  <a:lnTo>
                    <a:pt x="455" y="820"/>
                  </a:lnTo>
                  <a:lnTo>
                    <a:pt x="450" y="837"/>
                  </a:lnTo>
                  <a:lnTo>
                    <a:pt x="444" y="854"/>
                  </a:lnTo>
                  <a:lnTo>
                    <a:pt x="437" y="870"/>
                  </a:lnTo>
                  <a:lnTo>
                    <a:pt x="430" y="886"/>
                  </a:lnTo>
                  <a:lnTo>
                    <a:pt x="423" y="902"/>
                  </a:lnTo>
                  <a:lnTo>
                    <a:pt x="415" y="918"/>
                  </a:lnTo>
                  <a:lnTo>
                    <a:pt x="407" y="932"/>
                  </a:lnTo>
                  <a:lnTo>
                    <a:pt x="398" y="946"/>
                  </a:lnTo>
                  <a:lnTo>
                    <a:pt x="389" y="960"/>
                  </a:lnTo>
                  <a:lnTo>
                    <a:pt x="379" y="973"/>
                  </a:lnTo>
                  <a:lnTo>
                    <a:pt x="369" y="984"/>
                  </a:lnTo>
                  <a:lnTo>
                    <a:pt x="358" y="995"/>
                  </a:lnTo>
                  <a:lnTo>
                    <a:pt x="346" y="1005"/>
                  </a:lnTo>
                  <a:lnTo>
                    <a:pt x="334" y="1014"/>
                  </a:lnTo>
                  <a:lnTo>
                    <a:pt x="322" y="1022"/>
                  </a:lnTo>
                  <a:lnTo>
                    <a:pt x="309" y="1028"/>
                  </a:lnTo>
                  <a:lnTo>
                    <a:pt x="295" y="1033"/>
                  </a:lnTo>
                  <a:lnTo>
                    <a:pt x="281" y="1037"/>
                  </a:lnTo>
                  <a:lnTo>
                    <a:pt x="266" y="1039"/>
                  </a:lnTo>
                  <a:lnTo>
                    <a:pt x="250" y="1040"/>
                  </a:lnTo>
                  <a:lnTo>
                    <a:pt x="241" y="1040"/>
                  </a:lnTo>
                  <a:lnTo>
                    <a:pt x="232" y="1039"/>
                  </a:lnTo>
                  <a:lnTo>
                    <a:pt x="223" y="1037"/>
                  </a:lnTo>
                  <a:lnTo>
                    <a:pt x="215" y="1035"/>
                  </a:lnTo>
                  <a:lnTo>
                    <a:pt x="207" y="1033"/>
                  </a:lnTo>
                  <a:lnTo>
                    <a:pt x="200" y="1030"/>
                  </a:lnTo>
                  <a:lnTo>
                    <a:pt x="194" y="1026"/>
                  </a:lnTo>
                  <a:lnTo>
                    <a:pt x="187" y="1022"/>
                  </a:lnTo>
                  <a:lnTo>
                    <a:pt x="181" y="1018"/>
                  </a:lnTo>
                  <a:lnTo>
                    <a:pt x="176" y="1013"/>
                  </a:lnTo>
                  <a:lnTo>
                    <a:pt x="171" y="1008"/>
                  </a:lnTo>
                  <a:lnTo>
                    <a:pt x="166" y="1003"/>
                  </a:lnTo>
                  <a:lnTo>
                    <a:pt x="157" y="991"/>
                  </a:lnTo>
                  <a:lnTo>
                    <a:pt x="150" y="978"/>
                  </a:lnTo>
                  <a:lnTo>
                    <a:pt x="144" y="964"/>
                  </a:lnTo>
                  <a:lnTo>
                    <a:pt x="139" y="949"/>
                  </a:lnTo>
                  <a:lnTo>
                    <a:pt x="136" y="934"/>
                  </a:lnTo>
                  <a:lnTo>
                    <a:pt x="133" y="918"/>
                  </a:lnTo>
                  <a:lnTo>
                    <a:pt x="131" y="902"/>
                  </a:lnTo>
                  <a:lnTo>
                    <a:pt x="130" y="886"/>
                  </a:lnTo>
                  <a:lnTo>
                    <a:pt x="129" y="871"/>
                  </a:lnTo>
                  <a:lnTo>
                    <a:pt x="129" y="855"/>
                  </a:lnTo>
                  <a:lnTo>
                    <a:pt x="129" y="829"/>
                  </a:lnTo>
                  <a:lnTo>
                    <a:pt x="131" y="800"/>
                  </a:lnTo>
                  <a:lnTo>
                    <a:pt x="135" y="766"/>
                  </a:lnTo>
                  <a:lnTo>
                    <a:pt x="140" y="732"/>
                  </a:lnTo>
                  <a:lnTo>
                    <a:pt x="147" y="697"/>
                  </a:lnTo>
                  <a:lnTo>
                    <a:pt x="155" y="660"/>
                  </a:lnTo>
                  <a:lnTo>
                    <a:pt x="166" y="624"/>
                  </a:lnTo>
                  <a:lnTo>
                    <a:pt x="178" y="589"/>
                  </a:lnTo>
                  <a:lnTo>
                    <a:pt x="185" y="572"/>
                  </a:lnTo>
                  <a:lnTo>
                    <a:pt x="192" y="555"/>
                  </a:lnTo>
                  <a:lnTo>
                    <a:pt x="199" y="539"/>
                  </a:lnTo>
                  <a:lnTo>
                    <a:pt x="207" y="524"/>
                  </a:lnTo>
                  <a:lnTo>
                    <a:pt x="216" y="509"/>
                  </a:lnTo>
                  <a:lnTo>
                    <a:pt x="225" y="495"/>
                  </a:lnTo>
                  <a:lnTo>
                    <a:pt x="235" y="481"/>
                  </a:lnTo>
                  <a:lnTo>
                    <a:pt x="245" y="469"/>
                  </a:lnTo>
                  <a:lnTo>
                    <a:pt x="256" y="458"/>
                  </a:lnTo>
                  <a:lnTo>
                    <a:pt x="267" y="448"/>
                  </a:lnTo>
                  <a:lnTo>
                    <a:pt x="279" y="440"/>
                  </a:lnTo>
                  <a:lnTo>
                    <a:pt x="291" y="433"/>
                  </a:lnTo>
                  <a:lnTo>
                    <a:pt x="304" y="427"/>
                  </a:lnTo>
                  <a:lnTo>
                    <a:pt x="318" y="423"/>
                  </a:lnTo>
                  <a:lnTo>
                    <a:pt x="332" y="420"/>
                  </a:lnTo>
                  <a:lnTo>
                    <a:pt x="347" y="419"/>
                  </a:lnTo>
                  <a:lnTo>
                    <a:pt x="356" y="420"/>
                  </a:lnTo>
                  <a:lnTo>
                    <a:pt x="365" y="421"/>
                  </a:lnTo>
                  <a:lnTo>
                    <a:pt x="374" y="422"/>
                  </a:lnTo>
                  <a:lnTo>
                    <a:pt x="383" y="425"/>
                  </a:lnTo>
                  <a:lnTo>
                    <a:pt x="390" y="428"/>
                  </a:lnTo>
                  <a:lnTo>
                    <a:pt x="398" y="431"/>
                  </a:lnTo>
                  <a:lnTo>
                    <a:pt x="405" y="435"/>
                  </a:lnTo>
                  <a:lnTo>
                    <a:pt x="412" y="439"/>
                  </a:lnTo>
                  <a:lnTo>
                    <a:pt x="419" y="445"/>
                  </a:lnTo>
                  <a:lnTo>
                    <a:pt x="425" y="450"/>
                  </a:lnTo>
                  <a:lnTo>
                    <a:pt x="430" y="456"/>
                  </a:lnTo>
                  <a:lnTo>
                    <a:pt x="436" y="462"/>
                  </a:lnTo>
                  <a:lnTo>
                    <a:pt x="447" y="476"/>
                  </a:lnTo>
                  <a:lnTo>
                    <a:pt x="455" y="492"/>
                  </a:lnTo>
                  <a:lnTo>
                    <a:pt x="462" y="508"/>
                  </a:lnTo>
                  <a:lnTo>
                    <a:pt x="469" y="524"/>
                  </a:lnTo>
                  <a:lnTo>
                    <a:pt x="474" y="542"/>
                  </a:lnTo>
                  <a:lnTo>
                    <a:pt x="478" y="559"/>
                  </a:lnTo>
                  <a:lnTo>
                    <a:pt x="481" y="577"/>
                  </a:lnTo>
                  <a:lnTo>
                    <a:pt x="483" y="595"/>
                  </a:lnTo>
                  <a:lnTo>
                    <a:pt x="484" y="612"/>
                  </a:lnTo>
                  <a:lnTo>
                    <a:pt x="484" y="629"/>
                  </a:lnTo>
                  <a:close/>
                  <a:moveTo>
                    <a:pt x="734" y="0"/>
                  </a:moveTo>
                  <a:lnTo>
                    <a:pt x="621" y="0"/>
                  </a:lnTo>
                  <a:lnTo>
                    <a:pt x="533" y="467"/>
                  </a:lnTo>
                  <a:lnTo>
                    <a:pt x="526" y="453"/>
                  </a:lnTo>
                  <a:lnTo>
                    <a:pt x="519" y="439"/>
                  </a:lnTo>
                  <a:lnTo>
                    <a:pt x="510" y="425"/>
                  </a:lnTo>
                  <a:lnTo>
                    <a:pt x="501" y="412"/>
                  </a:lnTo>
                  <a:lnTo>
                    <a:pt x="491" y="400"/>
                  </a:lnTo>
                  <a:lnTo>
                    <a:pt x="481" y="389"/>
                  </a:lnTo>
                  <a:lnTo>
                    <a:pt x="469" y="379"/>
                  </a:lnTo>
                  <a:lnTo>
                    <a:pt x="457" y="369"/>
                  </a:lnTo>
                  <a:lnTo>
                    <a:pt x="444" y="361"/>
                  </a:lnTo>
                  <a:lnTo>
                    <a:pt x="430" y="353"/>
                  </a:lnTo>
                  <a:lnTo>
                    <a:pt x="416" y="346"/>
                  </a:lnTo>
                  <a:lnTo>
                    <a:pt x="402" y="341"/>
                  </a:lnTo>
                  <a:lnTo>
                    <a:pt x="386" y="337"/>
                  </a:lnTo>
                  <a:lnTo>
                    <a:pt x="371" y="333"/>
                  </a:lnTo>
                  <a:lnTo>
                    <a:pt x="355" y="332"/>
                  </a:lnTo>
                  <a:lnTo>
                    <a:pt x="339" y="331"/>
                  </a:lnTo>
                  <a:lnTo>
                    <a:pt x="316" y="332"/>
                  </a:lnTo>
                  <a:lnTo>
                    <a:pt x="295" y="335"/>
                  </a:lnTo>
                  <a:lnTo>
                    <a:pt x="275" y="339"/>
                  </a:lnTo>
                  <a:lnTo>
                    <a:pt x="255" y="346"/>
                  </a:lnTo>
                  <a:lnTo>
                    <a:pt x="236" y="354"/>
                  </a:lnTo>
                  <a:lnTo>
                    <a:pt x="218" y="363"/>
                  </a:lnTo>
                  <a:lnTo>
                    <a:pt x="201" y="374"/>
                  </a:lnTo>
                  <a:lnTo>
                    <a:pt x="184" y="387"/>
                  </a:lnTo>
                  <a:lnTo>
                    <a:pt x="168" y="400"/>
                  </a:lnTo>
                  <a:lnTo>
                    <a:pt x="153" y="415"/>
                  </a:lnTo>
                  <a:lnTo>
                    <a:pt x="138" y="431"/>
                  </a:lnTo>
                  <a:lnTo>
                    <a:pt x="125" y="448"/>
                  </a:lnTo>
                  <a:lnTo>
                    <a:pt x="112" y="466"/>
                  </a:lnTo>
                  <a:lnTo>
                    <a:pt x="100" y="485"/>
                  </a:lnTo>
                  <a:lnTo>
                    <a:pt x="89" y="506"/>
                  </a:lnTo>
                  <a:lnTo>
                    <a:pt x="79" y="526"/>
                  </a:lnTo>
                  <a:lnTo>
                    <a:pt x="69" y="547"/>
                  </a:lnTo>
                  <a:lnTo>
                    <a:pt x="60" y="568"/>
                  </a:lnTo>
                  <a:lnTo>
                    <a:pt x="51" y="590"/>
                  </a:lnTo>
                  <a:lnTo>
                    <a:pt x="43" y="612"/>
                  </a:lnTo>
                  <a:lnTo>
                    <a:pt x="36" y="634"/>
                  </a:lnTo>
                  <a:lnTo>
                    <a:pt x="30" y="656"/>
                  </a:lnTo>
                  <a:lnTo>
                    <a:pt x="24" y="679"/>
                  </a:lnTo>
                  <a:lnTo>
                    <a:pt x="19" y="701"/>
                  </a:lnTo>
                  <a:lnTo>
                    <a:pt x="14" y="724"/>
                  </a:lnTo>
                  <a:lnTo>
                    <a:pt x="11" y="746"/>
                  </a:lnTo>
                  <a:lnTo>
                    <a:pt x="7" y="768"/>
                  </a:lnTo>
                  <a:lnTo>
                    <a:pt x="5" y="791"/>
                  </a:lnTo>
                  <a:lnTo>
                    <a:pt x="3" y="812"/>
                  </a:lnTo>
                  <a:lnTo>
                    <a:pt x="1" y="832"/>
                  </a:lnTo>
                  <a:lnTo>
                    <a:pt x="0" y="852"/>
                  </a:lnTo>
                  <a:lnTo>
                    <a:pt x="0" y="871"/>
                  </a:lnTo>
                  <a:lnTo>
                    <a:pt x="1" y="895"/>
                  </a:lnTo>
                  <a:lnTo>
                    <a:pt x="3" y="920"/>
                  </a:lnTo>
                  <a:lnTo>
                    <a:pt x="6" y="944"/>
                  </a:lnTo>
                  <a:lnTo>
                    <a:pt x="11" y="967"/>
                  </a:lnTo>
                  <a:lnTo>
                    <a:pt x="18" y="990"/>
                  </a:lnTo>
                  <a:lnTo>
                    <a:pt x="26" y="1012"/>
                  </a:lnTo>
                  <a:lnTo>
                    <a:pt x="31" y="1022"/>
                  </a:lnTo>
                  <a:lnTo>
                    <a:pt x="36" y="1033"/>
                  </a:lnTo>
                  <a:lnTo>
                    <a:pt x="41" y="1043"/>
                  </a:lnTo>
                  <a:lnTo>
                    <a:pt x="47" y="1053"/>
                  </a:lnTo>
                  <a:lnTo>
                    <a:pt x="54" y="1062"/>
                  </a:lnTo>
                  <a:lnTo>
                    <a:pt x="61" y="1071"/>
                  </a:lnTo>
                  <a:lnTo>
                    <a:pt x="68" y="1080"/>
                  </a:lnTo>
                  <a:lnTo>
                    <a:pt x="76" y="1088"/>
                  </a:lnTo>
                  <a:lnTo>
                    <a:pt x="84" y="1095"/>
                  </a:lnTo>
                  <a:lnTo>
                    <a:pt x="93" y="1102"/>
                  </a:lnTo>
                  <a:lnTo>
                    <a:pt x="102" y="1108"/>
                  </a:lnTo>
                  <a:lnTo>
                    <a:pt x="112" y="1114"/>
                  </a:lnTo>
                  <a:lnTo>
                    <a:pt x="122" y="1119"/>
                  </a:lnTo>
                  <a:lnTo>
                    <a:pt x="133" y="1124"/>
                  </a:lnTo>
                  <a:lnTo>
                    <a:pt x="144" y="1128"/>
                  </a:lnTo>
                  <a:lnTo>
                    <a:pt x="156" y="1131"/>
                  </a:lnTo>
                  <a:lnTo>
                    <a:pt x="170" y="1134"/>
                  </a:lnTo>
                  <a:lnTo>
                    <a:pt x="183" y="1136"/>
                  </a:lnTo>
                  <a:lnTo>
                    <a:pt x="196" y="1137"/>
                  </a:lnTo>
                  <a:lnTo>
                    <a:pt x="210" y="1137"/>
                  </a:lnTo>
                  <a:lnTo>
                    <a:pt x="231" y="1137"/>
                  </a:lnTo>
                  <a:lnTo>
                    <a:pt x="250" y="1135"/>
                  </a:lnTo>
                  <a:lnTo>
                    <a:pt x="268" y="1132"/>
                  </a:lnTo>
                  <a:lnTo>
                    <a:pt x="285" y="1127"/>
                  </a:lnTo>
                  <a:lnTo>
                    <a:pt x="300" y="1122"/>
                  </a:lnTo>
                  <a:lnTo>
                    <a:pt x="315" y="1115"/>
                  </a:lnTo>
                  <a:lnTo>
                    <a:pt x="329" y="1107"/>
                  </a:lnTo>
                  <a:lnTo>
                    <a:pt x="343" y="1098"/>
                  </a:lnTo>
                  <a:lnTo>
                    <a:pt x="355" y="1088"/>
                  </a:lnTo>
                  <a:lnTo>
                    <a:pt x="367" y="1078"/>
                  </a:lnTo>
                  <a:lnTo>
                    <a:pt x="378" y="1066"/>
                  </a:lnTo>
                  <a:lnTo>
                    <a:pt x="389" y="1053"/>
                  </a:lnTo>
                  <a:lnTo>
                    <a:pt x="399" y="1038"/>
                  </a:lnTo>
                  <a:lnTo>
                    <a:pt x="408" y="1023"/>
                  </a:lnTo>
                  <a:lnTo>
                    <a:pt x="418" y="1008"/>
                  </a:lnTo>
                  <a:lnTo>
                    <a:pt x="427" y="992"/>
                  </a:lnTo>
                  <a:lnTo>
                    <a:pt x="403" y="1121"/>
                  </a:lnTo>
                  <a:lnTo>
                    <a:pt x="516" y="1121"/>
                  </a:lnTo>
                  <a:lnTo>
                    <a:pt x="73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  <a:cs typeface="+mn-cs"/>
              </a:endParaRPr>
            </a:p>
          </p:txBody>
        </p:sp>
        <p:sp>
          <p:nvSpPr>
            <p:cNvPr id="43" name="Freeform 39"/>
            <p:cNvSpPr>
              <a:spLocks/>
            </p:cNvSpPr>
            <p:nvPr/>
          </p:nvSpPr>
          <p:spPr bwMode="gray">
            <a:xfrm>
              <a:off x="3951288" y="3887788"/>
              <a:ext cx="38100" cy="33337"/>
            </a:xfrm>
            <a:custGeom>
              <a:avLst/>
              <a:gdLst/>
              <a:ahLst/>
              <a:cxnLst>
                <a:cxn ang="0">
                  <a:pos x="154" y="161"/>
                </a:cxn>
                <a:cxn ang="0">
                  <a:pos x="0" y="161"/>
                </a:cxn>
                <a:cxn ang="0">
                  <a:pos x="24" y="0"/>
                </a:cxn>
                <a:cxn ang="0">
                  <a:pos x="186" y="0"/>
                </a:cxn>
                <a:cxn ang="0">
                  <a:pos x="154" y="161"/>
                </a:cxn>
              </a:cxnLst>
              <a:rect l="0" t="0" r="r" b="b"/>
              <a:pathLst>
                <a:path w="186" h="161">
                  <a:moveTo>
                    <a:pt x="154" y="161"/>
                  </a:moveTo>
                  <a:lnTo>
                    <a:pt x="0" y="161"/>
                  </a:lnTo>
                  <a:lnTo>
                    <a:pt x="24" y="0"/>
                  </a:lnTo>
                  <a:lnTo>
                    <a:pt x="186" y="0"/>
                  </a:lnTo>
                  <a:lnTo>
                    <a:pt x="154" y="16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  <a:cs typeface="+mn-cs"/>
              </a:endParaRPr>
            </a:p>
          </p:txBody>
        </p:sp>
      </p:grpSp>
      <p:sp>
        <p:nvSpPr>
          <p:cNvPr id="44" name="AMC_Footer"/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525463" y="6513513"/>
            <a:ext cx="8367712" cy="211137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/>
          <a:lstStyle/>
          <a:p>
            <a:pPr>
              <a:defRPr/>
            </a:pPr>
            <a:r>
              <a:rPr lang="en-US" sz="900" dirty="0">
                <a:solidFill>
                  <a:schemeClr val="bg1"/>
                </a:solidFill>
                <a:latin typeface="+mn-lt"/>
                <a:cs typeface="Arial" pitchFamily="34" charset="0"/>
              </a:rPr>
              <a:t>Copyright © 2011 Accenture All Rights Reserved. Accenture, its logo, and High Performance Delivered are trademarks of Accenture.</a:t>
            </a:r>
            <a:endParaRPr lang="de-DE" sz="90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555873" y="4816897"/>
            <a:ext cx="6370637" cy="847303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46" name="Untertitel 2"/>
          <p:cNvSpPr>
            <a:spLocks noGrp="1"/>
          </p:cNvSpPr>
          <p:nvPr>
            <p:ph type="subTitle" idx="1"/>
          </p:nvPr>
        </p:nvSpPr>
        <p:spPr>
          <a:xfrm>
            <a:off x="2555873" y="5356423"/>
            <a:ext cx="6337301" cy="615553"/>
          </a:xfrm>
          <a:prstGeom prst="rect">
            <a:avLst/>
          </a:prstGeom>
          <a:ln w="9525"/>
        </p:spPr>
        <p:txBody>
          <a:bodyPr lIns="0" tIns="0" rIns="0" bIns="0"/>
          <a:lstStyle>
            <a:lvl1pPr marL="0" indent="0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  <a:defRPr lang="de-DE" sz="20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err="1" smtClean="0"/>
              <a:t>Formatvorlage</a:t>
            </a:r>
            <a:r>
              <a:rPr lang="en-US" noProof="0" dirty="0" smtClean="0"/>
              <a:t> des </a:t>
            </a:r>
            <a:r>
              <a:rPr lang="en-US" noProof="0" dirty="0" err="1" smtClean="0"/>
              <a:t>Untertitelmasters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/>
          </a:p>
        </p:txBody>
      </p:sp>
    </p:spTree>
  </p:cSld>
  <p:clrMapOvr>
    <a:masterClrMapping/>
  </p:clrMapOvr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-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50824" y="1748831"/>
            <a:ext cx="8642279" cy="463292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>
            <a:lvl1pPr marL="180000" indent="-179388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79388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79388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79388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79388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1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smtClean="0"/>
              <a:t>Textmasterformate durch Klicken bearbeiten</a:t>
            </a:r>
          </a:p>
          <a:p>
            <a:pPr lvl="1"/>
            <a:r>
              <a:rPr lang="en-US" noProof="0" smtClean="0"/>
              <a:t>Zweite Ebene</a:t>
            </a:r>
          </a:p>
          <a:p>
            <a:pPr lvl="2"/>
            <a:r>
              <a:rPr lang="en-US" noProof="0" smtClean="0"/>
              <a:t>Dritte Ebene</a:t>
            </a:r>
          </a:p>
          <a:p>
            <a:pPr lvl="3"/>
            <a:r>
              <a:rPr lang="en-US" noProof="0" smtClean="0"/>
              <a:t>Vierte Ebene</a:t>
            </a:r>
          </a:p>
          <a:p>
            <a:pPr lvl="4"/>
            <a:r>
              <a:rPr lang="en-US" noProof="0" smtClean="0"/>
              <a:t>Fünfte Ebene</a:t>
            </a:r>
            <a:endParaRPr lang="en-US" noProof="0"/>
          </a:p>
        </p:txBody>
      </p:sp>
      <p:sp>
        <p:nvSpPr>
          <p:cNvPr id="9" name="Textplatzhalter 2"/>
          <p:cNvSpPr>
            <a:spLocks noGrp="1"/>
          </p:cNvSpPr>
          <p:nvPr>
            <p:ph type="body" idx="13"/>
          </p:nvPr>
        </p:nvSpPr>
        <p:spPr>
          <a:xfrm>
            <a:off x="250211" y="1331999"/>
            <a:ext cx="8642352" cy="386054"/>
          </a:xfrm>
          <a:prstGeom prst="rect">
            <a:avLst/>
          </a:prstGeom>
          <a:noFill/>
        </p:spPr>
        <p:txBody>
          <a:bodyPr wrap="square" lIns="0" tIns="72000" rIns="0" bIns="36000">
            <a:spAutoFit/>
          </a:bodyPr>
          <a:lstStyle>
            <a:lvl1pPr marL="0" indent="0">
              <a:buNone/>
              <a:defRPr lang="de-DE" sz="1800" b="1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</p:spTree>
  </p:cSld>
  <p:clrMapOvr>
    <a:masterClrMapping/>
  </p:clrMapOvr>
  <p:hf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3" descr="B:\1_Kunden\Accenture\1110_ALL_Shell_Austin\Bildersuche\stock-photo-closeup-of-finger-touching-screen-on-tablet-pc-with-shallow-depth-of-field-blue-toned-82746181.jpg"/>
          <p:cNvPicPr>
            <a:picLocks noChangeAspect="1" noChangeArrowheads="1"/>
          </p:cNvPicPr>
          <p:nvPr userDrawn="1"/>
        </p:nvPicPr>
        <p:blipFill>
          <a:blip r:embed="rId5"/>
          <a:srcRect/>
          <a:stretch>
            <a:fillRect/>
          </a:stretch>
        </p:blipFill>
        <p:spPr bwMode="auto">
          <a:xfrm>
            <a:off x="0" y="0"/>
            <a:ext cx="9144000" cy="3430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5" name="AutoShape 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51201" name="think-cell Slide" r:id="rId6" imgW="0" imgH="0" progId="">
              <p:embed/>
            </p:oleObj>
          </a:graphicData>
        </a:graphic>
      </p:graphicFrame>
      <p:grpSp>
        <p:nvGrpSpPr>
          <p:cNvPr id="6" name="Gruppieren 46"/>
          <p:cNvGrpSpPr/>
          <p:nvPr userDrawn="1"/>
        </p:nvGrpSpPr>
        <p:grpSpPr>
          <a:xfrm>
            <a:off x="522288" y="2187575"/>
            <a:ext cx="3470275" cy="1809750"/>
            <a:chOff x="522288" y="2187575"/>
            <a:chExt cx="3470275" cy="1809750"/>
          </a:xfrm>
          <a:solidFill>
            <a:schemeClr val="bg1"/>
          </a:solidFill>
        </p:grpSpPr>
        <p:sp>
          <p:nvSpPr>
            <p:cNvPr id="7" name="Freeform 4"/>
            <p:cNvSpPr>
              <a:spLocks noEditPoints="1"/>
            </p:cNvSpPr>
            <p:nvPr/>
          </p:nvSpPr>
          <p:spPr bwMode="gray">
            <a:xfrm>
              <a:off x="522288" y="2708275"/>
              <a:ext cx="350837" cy="473075"/>
            </a:xfrm>
            <a:custGeom>
              <a:avLst/>
              <a:gdLst/>
              <a:ahLst/>
              <a:cxnLst>
                <a:cxn ang="0">
                  <a:pos x="1164" y="1320"/>
                </a:cxn>
                <a:cxn ang="0">
                  <a:pos x="1140" y="1453"/>
                </a:cxn>
                <a:cxn ang="0">
                  <a:pos x="1097" y="1580"/>
                </a:cxn>
                <a:cxn ang="0">
                  <a:pos x="1030" y="1693"/>
                </a:cxn>
                <a:cxn ang="0">
                  <a:pos x="938" y="1779"/>
                </a:cxn>
                <a:cxn ang="0">
                  <a:pos x="819" y="1829"/>
                </a:cxn>
                <a:cxn ang="0">
                  <a:pos x="705" y="1837"/>
                </a:cxn>
                <a:cxn ang="0">
                  <a:pos x="637" y="1827"/>
                </a:cxn>
                <a:cxn ang="0">
                  <a:pos x="581" y="1804"/>
                </a:cxn>
                <a:cxn ang="0">
                  <a:pos x="536" y="1769"/>
                </a:cxn>
                <a:cxn ang="0">
                  <a:pos x="503" y="1722"/>
                </a:cxn>
                <a:cxn ang="0">
                  <a:pos x="483" y="1662"/>
                </a:cxn>
                <a:cxn ang="0">
                  <a:pos x="476" y="1588"/>
                </a:cxn>
                <a:cxn ang="0">
                  <a:pos x="507" y="1459"/>
                </a:cxn>
                <a:cxn ang="0">
                  <a:pos x="589" y="1364"/>
                </a:cxn>
                <a:cxn ang="0">
                  <a:pos x="709" y="1295"/>
                </a:cxn>
                <a:cxn ang="0">
                  <a:pos x="847" y="1252"/>
                </a:cxn>
                <a:cxn ang="0">
                  <a:pos x="1019" y="1225"/>
                </a:cxn>
                <a:cxn ang="0">
                  <a:pos x="1629" y="645"/>
                </a:cxn>
                <a:cxn ang="0">
                  <a:pos x="1607" y="441"/>
                </a:cxn>
                <a:cxn ang="0">
                  <a:pos x="1543" y="281"/>
                </a:cxn>
                <a:cxn ang="0">
                  <a:pos x="1441" y="160"/>
                </a:cxn>
                <a:cxn ang="0">
                  <a:pos x="1306" y="76"/>
                </a:cxn>
                <a:cxn ang="0">
                  <a:pos x="1141" y="25"/>
                </a:cxn>
                <a:cxn ang="0">
                  <a:pos x="952" y="2"/>
                </a:cxn>
                <a:cxn ang="0">
                  <a:pos x="751" y="5"/>
                </a:cxn>
                <a:cxn ang="0">
                  <a:pos x="564" y="36"/>
                </a:cxn>
                <a:cxn ang="0">
                  <a:pos x="398" y="99"/>
                </a:cxn>
                <a:cxn ang="0">
                  <a:pos x="261" y="194"/>
                </a:cxn>
                <a:cxn ang="0">
                  <a:pos x="159" y="326"/>
                </a:cxn>
                <a:cxn ang="0">
                  <a:pos x="96" y="496"/>
                </a:cxn>
                <a:cxn ang="0">
                  <a:pos x="556" y="661"/>
                </a:cxn>
                <a:cxn ang="0">
                  <a:pos x="564" y="570"/>
                </a:cxn>
                <a:cxn ang="0">
                  <a:pos x="587" y="493"/>
                </a:cxn>
                <a:cxn ang="0">
                  <a:pos x="625" y="431"/>
                </a:cxn>
                <a:cxn ang="0">
                  <a:pos x="679" y="385"/>
                </a:cxn>
                <a:cxn ang="0">
                  <a:pos x="749" y="355"/>
                </a:cxn>
                <a:cxn ang="0">
                  <a:pos x="833" y="340"/>
                </a:cxn>
                <a:cxn ang="0">
                  <a:pos x="934" y="343"/>
                </a:cxn>
                <a:cxn ang="0">
                  <a:pos x="1020" y="369"/>
                </a:cxn>
                <a:cxn ang="0">
                  <a:pos x="1083" y="416"/>
                </a:cxn>
                <a:cxn ang="0">
                  <a:pos x="1126" y="481"/>
                </a:cxn>
                <a:cxn ang="0">
                  <a:pos x="1153" y="560"/>
                </a:cxn>
                <a:cxn ang="0">
                  <a:pos x="1169" y="725"/>
                </a:cxn>
                <a:cxn ang="0">
                  <a:pos x="885" y="945"/>
                </a:cxn>
                <a:cxn ang="0">
                  <a:pos x="638" y="982"/>
                </a:cxn>
                <a:cxn ang="0">
                  <a:pos x="406" y="1052"/>
                </a:cxn>
                <a:cxn ang="0">
                  <a:pos x="209" y="1168"/>
                </a:cxn>
                <a:cxn ang="0">
                  <a:pos x="67" y="1339"/>
                </a:cxn>
                <a:cxn ang="0">
                  <a:pos x="2" y="1579"/>
                </a:cxn>
                <a:cxn ang="0">
                  <a:pos x="13" y="1762"/>
                </a:cxn>
                <a:cxn ang="0">
                  <a:pos x="62" y="1897"/>
                </a:cxn>
                <a:cxn ang="0">
                  <a:pos x="143" y="2008"/>
                </a:cxn>
                <a:cxn ang="0">
                  <a:pos x="250" y="2092"/>
                </a:cxn>
                <a:cxn ang="0">
                  <a:pos x="377" y="2149"/>
                </a:cxn>
                <a:cxn ang="0">
                  <a:pos x="522" y="2180"/>
                </a:cxn>
                <a:cxn ang="0">
                  <a:pos x="698" y="2181"/>
                </a:cxn>
                <a:cxn ang="0">
                  <a:pos x="799" y="2166"/>
                </a:cxn>
                <a:cxn ang="0">
                  <a:pos x="896" y="2137"/>
                </a:cxn>
                <a:cxn ang="0">
                  <a:pos x="985" y="2093"/>
                </a:cxn>
                <a:cxn ang="0">
                  <a:pos x="1063" y="2032"/>
                </a:cxn>
                <a:cxn ang="0">
                  <a:pos x="1129" y="1953"/>
                </a:cxn>
                <a:cxn ang="0">
                  <a:pos x="1169" y="2137"/>
                </a:cxn>
              </a:cxnLst>
              <a:rect l="0" t="0" r="r" b="b"/>
              <a:pathLst>
                <a:path w="1629" h="2185">
                  <a:moveTo>
                    <a:pt x="1169" y="1217"/>
                  </a:moveTo>
                  <a:lnTo>
                    <a:pt x="1169" y="1243"/>
                  </a:lnTo>
                  <a:lnTo>
                    <a:pt x="1168" y="1268"/>
                  </a:lnTo>
                  <a:lnTo>
                    <a:pt x="1166" y="1294"/>
                  </a:lnTo>
                  <a:lnTo>
                    <a:pt x="1164" y="1320"/>
                  </a:lnTo>
                  <a:lnTo>
                    <a:pt x="1161" y="1347"/>
                  </a:lnTo>
                  <a:lnTo>
                    <a:pt x="1157" y="1374"/>
                  </a:lnTo>
                  <a:lnTo>
                    <a:pt x="1152" y="1401"/>
                  </a:lnTo>
                  <a:lnTo>
                    <a:pt x="1147" y="1427"/>
                  </a:lnTo>
                  <a:lnTo>
                    <a:pt x="1140" y="1453"/>
                  </a:lnTo>
                  <a:lnTo>
                    <a:pt x="1133" y="1480"/>
                  </a:lnTo>
                  <a:lnTo>
                    <a:pt x="1125" y="1505"/>
                  </a:lnTo>
                  <a:lnTo>
                    <a:pt x="1117" y="1531"/>
                  </a:lnTo>
                  <a:lnTo>
                    <a:pt x="1107" y="1556"/>
                  </a:lnTo>
                  <a:lnTo>
                    <a:pt x="1097" y="1580"/>
                  </a:lnTo>
                  <a:lnTo>
                    <a:pt x="1085" y="1604"/>
                  </a:lnTo>
                  <a:lnTo>
                    <a:pt x="1073" y="1627"/>
                  </a:lnTo>
                  <a:lnTo>
                    <a:pt x="1059" y="1651"/>
                  </a:lnTo>
                  <a:lnTo>
                    <a:pt x="1045" y="1672"/>
                  </a:lnTo>
                  <a:lnTo>
                    <a:pt x="1030" y="1693"/>
                  </a:lnTo>
                  <a:lnTo>
                    <a:pt x="1014" y="1712"/>
                  </a:lnTo>
                  <a:lnTo>
                    <a:pt x="997" y="1731"/>
                  </a:lnTo>
                  <a:lnTo>
                    <a:pt x="978" y="1748"/>
                  </a:lnTo>
                  <a:lnTo>
                    <a:pt x="958" y="1764"/>
                  </a:lnTo>
                  <a:lnTo>
                    <a:pt x="938" y="1779"/>
                  </a:lnTo>
                  <a:lnTo>
                    <a:pt x="916" y="1792"/>
                  </a:lnTo>
                  <a:lnTo>
                    <a:pt x="894" y="1804"/>
                  </a:lnTo>
                  <a:lnTo>
                    <a:pt x="870" y="1814"/>
                  </a:lnTo>
                  <a:lnTo>
                    <a:pt x="845" y="1823"/>
                  </a:lnTo>
                  <a:lnTo>
                    <a:pt x="819" y="1829"/>
                  </a:lnTo>
                  <a:lnTo>
                    <a:pt x="792" y="1834"/>
                  </a:lnTo>
                  <a:lnTo>
                    <a:pt x="764" y="1837"/>
                  </a:lnTo>
                  <a:lnTo>
                    <a:pt x="734" y="1838"/>
                  </a:lnTo>
                  <a:lnTo>
                    <a:pt x="719" y="1838"/>
                  </a:lnTo>
                  <a:lnTo>
                    <a:pt x="705" y="1837"/>
                  </a:lnTo>
                  <a:lnTo>
                    <a:pt x="690" y="1836"/>
                  </a:lnTo>
                  <a:lnTo>
                    <a:pt x="676" y="1835"/>
                  </a:lnTo>
                  <a:lnTo>
                    <a:pt x="663" y="1832"/>
                  </a:lnTo>
                  <a:lnTo>
                    <a:pt x="650" y="1830"/>
                  </a:lnTo>
                  <a:lnTo>
                    <a:pt x="637" y="1827"/>
                  </a:lnTo>
                  <a:lnTo>
                    <a:pt x="625" y="1823"/>
                  </a:lnTo>
                  <a:lnTo>
                    <a:pt x="614" y="1819"/>
                  </a:lnTo>
                  <a:lnTo>
                    <a:pt x="602" y="1815"/>
                  </a:lnTo>
                  <a:lnTo>
                    <a:pt x="592" y="1810"/>
                  </a:lnTo>
                  <a:lnTo>
                    <a:pt x="581" y="1804"/>
                  </a:lnTo>
                  <a:lnTo>
                    <a:pt x="571" y="1798"/>
                  </a:lnTo>
                  <a:lnTo>
                    <a:pt x="562" y="1792"/>
                  </a:lnTo>
                  <a:lnTo>
                    <a:pt x="553" y="1785"/>
                  </a:lnTo>
                  <a:lnTo>
                    <a:pt x="544" y="1777"/>
                  </a:lnTo>
                  <a:lnTo>
                    <a:pt x="536" y="1769"/>
                  </a:lnTo>
                  <a:lnTo>
                    <a:pt x="529" y="1761"/>
                  </a:lnTo>
                  <a:lnTo>
                    <a:pt x="522" y="1752"/>
                  </a:lnTo>
                  <a:lnTo>
                    <a:pt x="515" y="1742"/>
                  </a:lnTo>
                  <a:lnTo>
                    <a:pt x="509" y="1732"/>
                  </a:lnTo>
                  <a:lnTo>
                    <a:pt x="503" y="1722"/>
                  </a:lnTo>
                  <a:lnTo>
                    <a:pt x="498" y="1711"/>
                  </a:lnTo>
                  <a:lnTo>
                    <a:pt x="494" y="1699"/>
                  </a:lnTo>
                  <a:lnTo>
                    <a:pt x="490" y="1687"/>
                  </a:lnTo>
                  <a:lnTo>
                    <a:pt x="486" y="1675"/>
                  </a:lnTo>
                  <a:lnTo>
                    <a:pt x="483" y="1662"/>
                  </a:lnTo>
                  <a:lnTo>
                    <a:pt x="481" y="1648"/>
                  </a:lnTo>
                  <a:lnTo>
                    <a:pt x="479" y="1633"/>
                  </a:lnTo>
                  <a:lnTo>
                    <a:pt x="477" y="1619"/>
                  </a:lnTo>
                  <a:lnTo>
                    <a:pt x="476" y="1604"/>
                  </a:lnTo>
                  <a:lnTo>
                    <a:pt x="476" y="1588"/>
                  </a:lnTo>
                  <a:lnTo>
                    <a:pt x="477" y="1560"/>
                  </a:lnTo>
                  <a:lnTo>
                    <a:pt x="481" y="1532"/>
                  </a:lnTo>
                  <a:lnTo>
                    <a:pt x="488" y="1507"/>
                  </a:lnTo>
                  <a:lnTo>
                    <a:pt x="496" y="1482"/>
                  </a:lnTo>
                  <a:lnTo>
                    <a:pt x="507" y="1459"/>
                  </a:lnTo>
                  <a:lnTo>
                    <a:pt x="520" y="1438"/>
                  </a:lnTo>
                  <a:lnTo>
                    <a:pt x="535" y="1417"/>
                  </a:lnTo>
                  <a:lnTo>
                    <a:pt x="551" y="1398"/>
                  </a:lnTo>
                  <a:lnTo>
                    <a:pt x="570" y="1380"/>
                  </a:lnTo>
                  <a:lnTo>
                    <a:pt x="589" y="1364"/>
                  </a:lnTo>
                  <a:lnTo>
                    <a:pt x="611" y="1347"/>
                  </a:lnTo>
                  <a:lnTo>
                    <a:pt x="633" y="1332"/>
                  </a:lnTo>
                  <a:lnTo>
                    <a:pt x="657" y="1319"/>
                  </a:lnTo>
                  <a:lnTo>
                    <a:pt x="682" y="1307"/>
                  </a:lnTo>
                  <a:lnTo>
                    <a:pt x="709" y="1295"/>
                  </a:lnTo>
                  <a:lnTo>
                    <a:pt x="735" y="1285"/>
                  </a:lnTo>
                  <a:lnTo>
                    <a:pt x="762" y="1275"/>
                  </a:lnTo>
                  <a:lnTo>
                    <a:pt x="790" y="1267"/>
                  </a:lnTo>
                  <a:lnTo>
                    <a:pt x="819" y="1259"/>
                  </a:lnTo>
                  <a:lnTo>
                    <a:pt x="847" y="1252"/>
                  </a:lnTo>
                  <a:lnTo>
                    <a:pt x="876" y="1246"/>
                  </a:lnTo>
                  <a:lnTo>
                    <a:pt x="905" y="1240"/>
                  </a:lnTo>
                  <a:lnTo>
                    <a:pt x="933" y="1235"/>
                  </a:lnTo>
                  <a:lnTo>
                    <a:pt x="962" y="1231"/>
                  </a:lnTo>
                  <a:lnTo>
                    <a:pt x="1019" y="1225"/>
                  </a:lnTo>
                  <a:lnTo>
                    <a:pt x="1073" y="1221"/>
                  </a:lnTo>
                  <a:lnTo>
                    <a:pt x="1123" y="1218"/>
                  </a:lnTo>
                  <a:lnTo>
                    <a:pt x="1169" y="1217"/>
                  </a:lnTo>
                  <a:close/>
                  <a:moveTo>
                    <a:pt x="1629" y="2137"/>
                  </a:moveTo>
                  <a:lnTo>
                    <a:pt x="1629" y="645"/>
                  </a:lnTo>
                  <a:lnTo>
                    <a:pt x="1628" y="601"/>
                  </a:lnTo>
                  <a:lnTo>
                    <a:pt x="1626" y="558"/>
                  </a:lnTo>
                  <a:lnTo>
                    <a:pt x="1621" y="517"/>
                  </a:lnTo>
                  <a:lnTo>
                    <a:pt x="1615" y="478"/>
                  </a:lnTo>
                  <a:lnTo>
                    <a:pt x="1607" y="441"/>
                  </a:lnTo>
                  <a:lnTo>
                    <a:pt x="1597" y="406"/>
                  </a:lnTo>
                  <a:lnTo>
                    <a:pt x="1586" y="372"/>
                  </a:lnTo>
                  <a:lnTo>
                    <a:pt x="1573" y="340"/>
                  </a:lnTo>
                  <a:lnTo>
                    <a:pt x="1559" y="310"/>
                  </a:lnTo>
                  <a:lnTo>
                    <a:pt x="1543" y="281"/>
                  </a:lnTo>
                  <a:lnTo>
                    <a:pt x="1526" y="254"/>
                  </a:lnTo>
                  <a:lnTo>
                    <a:pt x="1506" y="228"/>
                  </a:lnTo>
                  <a:lnTo>
                    <a:pt x="1485" y="204"/>
                  </a:lnTo>
                  <a:lnTo>
                    <a:pt x="1464" y="181"/>
                  </a:lnTo>
                  <a:lnTo>
                    <a:pt x="1441" y="160"/>
                  </a:lnTo>
                  <a:lnTo>
                    <a:pt x="1416" y="141"/>
                  </a:lnTo>
                  <a:lnTo>
                    <a:pt x="1391" y="123"/>
                  </a:lnTo>
                  <a:lnTo>
                    <a:pt x="1364" y="106"/>
                  </a:lnTo>
                  <a:lnTo>
                    <a:pt x="1335" y="90"/>
                  </a:lnTo>
                  <a:lnTo>
                    <a:pt x="1306" y="76"/>
                  </a:lnTo>
                  <a:lnTo>
                    <a:pt x="1276" y="64"/>
                  </a:lnTo>
                  <a:lnTo>
                    <a:pt x="1243" y="52"/>
                  </a:lnTo>
                  <a:lnTo>
                    <a:pt x="1210" y="42"/>
                  </a:lnTo>
                  <a:lnTo>
                    <a:pt x="1176" y="33"/>
                  </a:lnTo>
                  <a:lnTo>
                    <a:pt x="1141" y="25"/>
                  </a:lnTo>
                  <a:lnTo>
                    <a:pt x="1106" y="18"/>
                  </a:lnTo>
                  <a:lnTo>
                    <a:pt x="1069" y="12"/>
                  </a:lnTo>
                  <a:lnTo>
                    <a:pt x="1031" y="8"/>
                  </a:lnTo>
                  <a:lnTo>
                    <a:pt x="993" y="4"/>
                  </a:lnTo>
                  <a:lnTo>
                    <a:pt x="952" y="2"/>
                  </a:lnTo>
                  <a:lnTo>
                    <a:pt x="912" y="0"/>
                  </a:lnTo>
                  <a:lnTo>
                    <a:pt x="871" y="0"/>
                  </a:lnTo>
                  <a:lnTo>
                    <a:pt x="830" y="1"/>
                  </a:lnTo>
                  <a:lnTo>
                    <a:pt x="790" y="2"/>
                  </a:lnTo>
                  <a:lnTo>
                    <a:pt x="751" y="5"/>
                  </a:lnTo>
                  <a:lnTo>
                    <a:pt x="712" y="9"/>
                  </a:lnTo>
                  <a:lnTo>
                    <a:pt x="673" y="14"/>
                  </a:lnTo>
                  <a:lnTo>
                    <a:pt x="636" y="20"/>
                  </a:lnTo>
                  <a:lnTo>
                    <a:pt x="599" y="28"/>
                  </a:lnTo>
                  <a:lnTo>
                    <a:pt x="564" y="36"/>
                  </a:lnTo>
                  <a:lnTo>
                    <a:pt x="529" y="46"/>
                  </a:lnTo>
                  <a:lnTo>
                    <a:pt x="495" y="57"/>
                  </a:lnTo>
                  <a:lnTo>
                    <a:pt x="462" y="70"/>
                  </a:lnTo>
                  <a:lnTo>
                    <a:pt x="430" y="83"/>
                  </a:lnTo>
                  <a:lnTo>
                    <a:pt x="398" y="99"/>
                  </a:lnTo>
                  <a:lnTo>
                    <a:pt x="368" y="115"/>
                  </a:lnTo>
                  <a:lnTo>
                    <a:pt x="340" y="133"/>
                  </a:lnTo>
                  <a:lnTo>
                    <a:pt x="312" y="152"/>
                  </a:lnTo>
                  <a:lnTo>
                    <a:pt x="286" y="172"/>
                  </a:lnTo>
                  <a:lnTo>
                    <a:pt x="261" y="194"/>
                  </a:lnTo>
                  <a:lnTo>
                    <a:pt x="238" y="217"/>
                  </a:lnTo>
                  <a:lnTo>
                    <a:pt x="216" y="243"/>
                  </a:lnTo>
                  <a:lnTo>
                    <a:pt x="196" y="269"/>
                  </a:lnTo>
                  <a:lnTo>
                    <a:pt x="177" y="297"/>
                  </a:lnTo>
                  <a:lnTo>
                    <a:pt x="159" y="326"/>
                  </a:lnTo>
                  <a:lnTo>
                    <a:pt x="143" y="357"/>
                  </a:lnTo>
                  <a:lnTo>
                    <a:pt x="128" y="389"/>
                  </a:lnTo>
                  <a:lnTo>
                    <a:pt x="116" y="423"/>
                  </a:lnTo>
                  <a:lnTo>
                    <a:pt x="105" y="459"/>
                  </a:lnTo>
                  <a:lnTo>
                    <a:pt x="96" y="496"/>
                  </a:lnTo>
                  <a:lnTo>
                    <a:pt x="89" y="535"/>
                  </a:lnTo>
                  <a:lnTo>
                    <a:pt x="84" y="575"/>
                  </a:lnTo>
                  <a:lnTo>
                    <a:pt x="81" y="617"/>
                  </a:lnTo>
                  <a:lnTo>
                    <a:pt x="80" y="661"/>
                  </a:lnTo>
                  <a:lnTo>
                    <a:pt x="556" y="661"/>
                  </a:lnTo>
                  <a:lnTo>
                    <a:pt x="557" y="642"/>
                  </a:lnTo>
                  <a:lnTo>
                    <a:pt x="558" y="623"/>
                  </a:lnTo>
                  <a:lnTo>
                    <a:pt x="559" y="605"/>
                  </a:lnTo>
                  <a:lnTo>
                    <a:pt x="561" y="587"/>
                  </a:lnTo>
                  <a:lnTo>
                    <a:pt x="564" y="570"/>
                  </a:lnTo>
                  <a:lnTo>
                    <a:pt x="567" y="554"/>
                  </a:lnTo>
                  <a:lnTo>
                    <a:pt x="571" y="538"/>
                  </a:lnTo>
                  <a:lnTo>
                    <a:pt x="576" y="523"/>
                  </a:lnTo>
                  <a:lnTo>
                    <a:pt x="581" y="507"/>
                  </a:lnTo>
                  <a:lnTo>
                    <a:pt x="587" y="493"/>
                  </a:lnTo>
                  <a:lnTo>
                    <a:pt x="593" y="479"/>
                  </a:lnTo>
                  <a:lnTo>
                    <a:pt x="601" y="466"/>
                  </a:lnTo>
                  <a:lnTo>
                    <a:pt x="608" y="454"/>
                  </a:lnTo>
                  <a:lnTo>
                    <a:pt x="616" y="442"/>
                  </a:lnTo>
                  <a:lnTo>
                    <a:pt x="625" y="431"/>
                  </a:lnTo>
                  <a:lnTo>
                    <a:pt x="635" y="421"/>
                  </a:lnTo>
                  <a:lnTo>
                    <a:pt x="645" y="411"/>
                  </a:lnTo>
                  <a:lnTo>
                    <a:pt x="656" y="402"/>
                  </a:lnTo>
                  <a:lnTo>
                    <a:pt x="667" y="393"/>
                  </a:lnTo>
                  <a:lnTo>
                    <a:pt x="679" y="385"/>
                  </a:lnTo>
                  <a:lnTo>
                    <a:pt x="691" y="378"/>
                  </a:lnTo>
                  <a:lnTo>
                    <a:pt x="706" y="371"/>
                  </a:lnTo>
                  <a:lnTo>
                    <a:pt x="719" y="365"/>
                  </a:lnTo>
                  <a:lnTo>
                    <a:pt x="734" y="359"/>
                  </a:lnTo>
                  <a:lnTo>
                    <a:pt x="749" y="355"/>
                  </a:lnTo>
                  <a:lnTo>
                    <a:pt x="764" y="350"/>
                  </a:lnTo>
                  <a:lnTo>
                    <a:pt x="781" y="347"/>
                  </a:lnTo>
                  <a:lnTo>
                    <a:pt x="797" y="344"/>
                  </a:lnTo>
                  <a:lnTo>
                    <a:pt x="815" y="341"/>
                  </a:lnTo>
                  <a:lnTo>
                    <a:pt x="833" y="340"/>
                  </a:lnTo>
                  <a:lnTo>
                    <a:pt x="852" y="339"/>
                  </a:lnTo>
                  <a:lnTo>
                    <a:pt x="871" y="338"/>
                  </a:lnTo>
                  <a:lnTo>
                    <a:pt x="893" y="339"/>
                  </a:lnTo>
                  <a:lnTo>
                    <a:pt x="914" y="341"/>
                  </a:lnTo>
                  <a:lnTo>
                    <a:pt x="934" y="343"/>
                  </a:lnTo>
                  <a:lnTo>
                    <a:pt x="953" y="347"/>
                  </a:lnTo>
                  <a:lnTo>
                    <a:pt x="972" y="351"/>
                  </a:lnTo>
                  <a:lnTo>
                    <a:pt x="989" y="356"/>
                  </a:lnTo>
                  <a:lnTo>
                    <a:pt x="1005" y="362"/>
                  </a:lnTo>
                  <a:lnTo>
                    <a:pt x="1020" y="369"/>
                  </a:lnTo>
                  <a:lnTo>
                    <a:pt x="1034" y="377"/>
                  </a:lnTo>
                  <a:lnTo>
                    <a:pt x="1048" y="386"/>
                  </a:lnTo>
                  <a:lnTo>
                    <a:pt x="1060" y="395"/>
                  </a:lnTo>
                  <a:lnTo>
                    <a:pt x="1072" y="405"/>
                  </a:lnTo>
                  <a:lnTo>
                    <a:pt x="1083" y="416"/>
                  </a:lnTo>
                  <a:lnTo>
                    <a:pt x="1093" y="428"/>
                  </a:lnTo>
                  <a:lnTo>
                    <a:pt x="1102" y="440"/>
                  </a:lnTo>
                  <a:lnTo>
                    <a:pt x="1111" y="453"/>
                  </a:lnTo>
                  <a:lnTo>
                    <a:pt x="1119" y="467"/>
                  </a:lnTo>
                  <a:lnTo>
                    <a:pt x="1126" y="481"/>
                  </a:lnTo>
                  <a:lnTo>
                    <a:pt x="1133" y="495"/>
                  </a:lnTo>
                  <a:lnTo>
                    <a:pt x="1139" y="510"/>
                  </a:lnTo>
                  <a:lnTo>
                    <a:pt x="1144" y="527"/>
                  </a:lnTo>
                  <a:lnTo>
                    <a:pt x="1149" y="543"/>
                  </a:lnTo>
                  <a:lnTo>
                    <a:pt x="1153" y="560"/>
                  </a:lnTo>
                  <a:lnTo>
                    <a:pt x="1157" y="577"/>
                  </a:lnTo>
                  <a:lnTo>
                    <a:pt x="1162" y="612"/>
                  </a:lnTo>
                  <a:lnTo>
                    <a:pt x="1166" y="649"/>
                  </a:lnTo>
                  <a:lnTo>
                    <a:pt x="1169" y="687"/>
                  </a:lnTo>
                  <a:lnTo>
                    <a:pt x="1169" y="725"/>
                  </a:lnTo>
                  <a:lnTo>
                    <a:pt x="1169" y="927"/>
                  </a:lnTo>
                  <a:lnTo>
                    <a:pt x="1078" y="931"/>
                  </a:lnTo>
                  <a:lnTo>
                    <a:pt x="983" y="936"/>
                  </a:lnTo>
                  <a:lnTo>
                    <a:pt x="933" y="940"/>
                  </a:lnTo>
                  <a:lnTo>
                    <a:pt x="885" y="945"/>
                  </a:lnTo>
                  <a:lnTo>
                    <a:pt x="835" y="950"/>
                  </a:lnTo>
                  <a:lnTo>
                    <a:pt x="786" y="956"/>
                  </a:lnTo>
                  <a:lnTo>
                    <a:pt x="737" y="964"/>
                  </a:lnTo>
                  <a:lnTo>
                    <a:pt x="687" y="972"/>
                  </a:lnTo>
                  <a:lnTo>
                    <a:pt x="638" y="982"/>
                  </a:lnTo>
                  <a:lnTo>
                    <a:pt x="590" y="993"/>
                  </a:lnTo>
                  <a:lnTo>
                    <a:pt x="543" y="1005"/>
                  </a:lnTo>
                  <a:lnTo>
                    <a:pt x="496" y="1019"/>
                  </a:lnTo>
                  <a:lnTo>
                    <a:pt x="451" y="1035"/>
                  </a:lnTo>
                  <a:lnTo>
                    <a:pt x="406" y="1052"/>
                  </a:lnTo>
                  <a:lnTo>
                    <a:pt x="363" y="1071"/>
                  </a:lnTo>
                  <a:lnTo>
                    <a:pt x="322" y="1093"/>
                  </a:lnTo>
                  <a:lnTo>
                    <a:pt x="282" y="1115"/>
                  </a:lnTo>
                  <a:lnTo>
                    <a:pt x="245" y="1140"/>
                  </a:lnTo>
                  <a:lnTo>
                    <a:pt x="209" y="1168"/>
                  </a:lnTo>
                  <a:lnTo>
                    <a:pt x="176" y="1197"/>
                  </a:lnTo>
                  <a:lnTo>
                    <a:pt x="145" y="1229"/>
                  </a:lnTo>
                  <a:lnTo>
                    <a:pt x="115" y="1263"/>
                  </a:lnTo>
                  <a:lnTo>
                    <a:pt x="90" y="1299"/>
                  </a:lnTo>
                  <a:lnTo>
                    <a:pt x="67" y="1339"/>
                  </a:lnTo>
                  <a:lnTo>
                    <a:pt x="47" y="1382"/>
                  </a:lnTo>
                  <a:lnTo>
                    <a:pt x="31" y="1427"/>
                  </a:lnTo>
                  <a:lnTo>
                    <a:pt x="17" y="1475"/>
                  </a:lnTo>
                  <a:lnTo>
                    <a:pt x="8" y="1525"/>
                  </a:lnTo>
                  <a:lnTo>
                    <a:pt x="2" y="1579"/>
                  </a:lnTo>
                  <a:lnTo>
                    <a:pt x="0" y="1637"/>
                  </a:lnTo>
                  <a:lnTo>
                    <a:pt x="1" y="1670"/>
                  </a:lnTo>
                  <a:lnTo>
                    <a:pt x="3" y="1702"/>
                  </a:lnTo>
                  <a:lnTo>
                    <a:pt x="7" y="1733"/>
                  </a:lnTo>
                  <a:lnTo>
                    <a:pt x="13" y="1762"/>
                  </a:lnTo>
                  <a:lnTo>
                    <a:pt x="20" y="1791"/>
                  </a:lnTo>
                  <a:lnTo>
                    <a:pt x="28" y="1819"/>
                  </a:lnTo>
                  <a:lnTo>
                    <a:pt x="38" y="1846"/>
                  </a:lnTo>
                  <a:lnTo>
                    <a:pt x="49" y="1872"/>
                  </a:lnTo>
                  <a:lnTo>
                    <a:pt x="62" y="1897"/>
                  </a:lnTo>
                  <a:lnTo>
                    <a:pt x="75" y="1922"/>
                  </a:lnTo>
                  <a:lnTo>
                    <a:pt x="90" y="1945"/>
                  </a:lnTo>
                  <a:lnTo>
                    <a:pt x="106" y="1967"/>
                  </a:lnTo>
                  <a:lnTo>
                    <a:pt x="124" y="1988"/>
                  </a:lnTo>
                  <a:lnTo>
                    <a:pt x="143" y="2008"/>
                  </a:lnTo>
                  <a:lnTo>
                    <a:pt x="162" y="2026"/>
                  </a:lnTo>
                  <a:lnTo>
                    <a:pt x="183" y="2044"/>
                  </a:lnTo>
                  <a:lnTo>
                    <a:pt x="204" y="2061"/>
                  </a:lnTo>
                  <a:lnTo>
                    <a:pt x="226" y="2077"/>
                  </a:lnTo>
                  <a:lnTo>
                    <a:pt x="250" y="2092"/>
                  </a:lnTo>
                  <a:lnTo>
                    <a:pt x="274" y="2105"/>
                  </a:lnTo>
                  <a:lnTo>
                    <a:pt x="298" y="2118"/>
                  </a:lnTo>
                  <a:lnTo>
                    <a:pt x="324" y="2129"/>
                  </a:lnTo>
                  <a:lnTo>
                    <a:pt x="350" y="2140"/>
                  </a:lnTo>
                  <a:lnTo>
                    <a:pt x="377" y="2149"/>
                  </a:lnTo>
                  <a:lnTo>
                    <a:pt x="405" y="2158"/>
                  </a:lnTo>
                  <a:lnTo>
                    <a:pt x="434" y="2165"/>
                  </a:lnTo>
                  <a:lnTo>
                    <a:pt x="463" y="2171"/>
                  </a:lnTo>
                  <a:lnTo>
                    <a:pt x="492" y="2176"/>
                  </a:lnTo>
                  <a:lnTo>
                    <a:pt x="522" y="2180"/>
                  </a:lnTo>
                  <a:lnTo>
                    <a:pt x="552" y="2183"/>
                  </a:lnTo>
                  <a:lnTo>
                    <a:pt x="582" y="2184"/>
                  </a:lnTo>
                  <a:lnTo>
                    <a:pt x="613" y="2185"/>
                  </a:lnTo>
                  <a:lnTo>
                    <a:pt x="655" y="2184"/>
                  </a:lnTo>
                  <a:lnTo>
                    <a:pt x="698" y="2181"/>
                  </a:lnTo>
                  <a:lnTo>
                    <a:pt x="718" y="2179"/>
                  </a:lnTo>
                  <a:lnTo>
                    <a:pt x="739" y="2177"/>
                  </a:lnTo>
                  <a:lnTo>
                    <a:pt x="759" y="2174"/>
                  </a:lnTo>
                  <a:lnTo>
                    <a:pt x="779" y="2170"/>
                  </a:lnTo>
                  <a:lnTo>
                    <a:pt x="799" y="2166"/>
                  </a:lnTo>
                  <a:lnTo>
                    <a:pt x="819" y="2162"/>
                  </a:lnTo>
                  <a:lnTo>
                    <a:pt x="839" y="2156"/>
                  </a:lnTo>
                  <a:lnTo>
                    <a:pt x="858" y="2151"/>
                  </a:lnTo>
                  <a:lnTo>
                    <a:pt x="877" y="2144"/>
                  </a:lnTo>
                  <a:lnTo>
                    <a:pt x="896" y="2137"/>
                  </a:lnTo>
                  <a:lnTo>
                    <a:pt x="914" y="2130"/>
                  </a:lnTo>
                  <a:lnTo>
                    <a:pt x="932" y="2122"/>
                  </a:lnTo>
                  <a:lnTo>
                    <a:pt x="950" y="2113"/>
                  </a:lnTo>
                  <a:lnTo>
                    <a:pt x="967" y="2103"/>
                  </a:lnTo>
                  <a:lnTo>
                    <a:pt x="985" y="2093"/>
                  </a:lnTo>
                  <a:lnTo>
                    <a:pt x="1002" y="2082"/>
                  </a:lnTo>
                  <a:lnTo>
                    <a:pt x="1018" y="2071"/>
                  </a:lnTo>
                  <a:lnTo>
                    <a:pt x="1033" y="2059"/>
                  </a:lnTo>
                  <a:lnTo>
                    <a:pt x="1049" y="2046"/>
                  </a:lnTo>
                  <a:lnTo>
                    <a:pt x="1063" y="2032"/>
                  </a:lnTo>
                  <a:lnTo>
                    <a:pt x="1078" y="2018"/>
                  </a:lnTo>
                  <a:lnTo>
                    <a:pt x="1091" y="2003"/>
                  </a:lnTo>
                  <a:lnTo>
                    <a:pt x="1104" y="1987"/>
                  </a:lnTo>
                  <a:lnTo>
                    <a:pt x="1117" y="1970"/>
                  </a:lnTo>
                  <a:lnTo>
                    <a:pt x="1129" y="1953"/>
                  </a:lnTo>
                  <a:lnTo>
                    <a:pt x="1140" y="1935"/>
                  </a:lnTo>
                  <a:lnTo>
                    <a:pt x="1151" y="1916"/>
                  </a:lnTo>
                  <a:lnTo>
                    <a:pt x="1161" y="1895"/>
                  </a:lnTo>
                  <a:lnTo>
                    <a:pt x="1169" y="1895"/>
                  </a:lnTo>
                  <a:lnTo>
                    <a:pt x="1169" y="2137"/>
                  </a:lnTo>
                  <a:lnTo>
                    <a:pt x="1629" y="213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  <a:cs typeface="+mn-cs"/>
              </a:endParaRPr>
            </a:p>
          </p:txBody>
        </p:sp>
        <p:sp>
          <p:nvSpPr>
            <p:cNvPr id="8" name="Freeform 5"/>
            <p:cNvSpPr>
              <a:spLocks/>
            </p:cNvSpPr>
            <p:nvPr/>
          </p:nvSpPr>
          <p:spPr bwMode="gray">
            <a:xfrm>
              <a:off x="922338" y="2708275"/>
              <a:ext cx="377825" cy="473075"/>
            </a:xfrm>
            <a:custGeom>
              <a:avLst/>
              <a:gdLst/>
              <a:ahLst/>
              <a:cxnLst>
                <a:cxn ang="0">
                  <a:pos x="1229" y="665"/>
                </a:cxn>
                <a:cxn ang="0">
                  <a:pos x="1216" y="589"/>
                </a:cxn>
                <a:cxn ang="0">
                  <a:pos x="1194" y="517"/>
                </a:cxn>
                <a:cxn ang="0">
                  <a:pos x="1161" y="456"/>
                </a:cxn>
                <a:cxn ang="0">
                  <a:pos x="1117" y="404"/>
                </a:cxn>
                <a:cxn ang="0">
                  <a:pos x="1058" y="366"/>
                </a:cxn>
                <a:cxn ang="0">
                  <a:pos x="985" y="344"/>
                </a:cxn>
                <a:cxn ang="0">
                  <a:pos x="891" y="339"/>
                </a:cxn>
                <a:cxn ang="0">
                  <a:pos x="788" y="361"/>
                </a:cxn>
                <a:cxn ang="0">
                  <a:pos x="704" y="406"/>
                </a:cxn>
                <a:cxn ang="0">
                  <a:pos x="639" y="471"/>
                </a:cxn>
                <a:cxn ang="0">
                  <a:pos x="589" y="553"/>
                </a:cxn>
                <a:cxn ang="0">
                  <a:pos x="553" y="644"/>
                </a:cxn>
                <a:cxn ang="0">
                  <a:pos x="531" y="740"/>
                </a:cxn>
                <a:cxn ang="0">
                  <a:pos x="519" y="840"/>
                </a:cxn>
                <a:cxn ang="0">
                  <a:pos x="517" y="960"/>
                </a:cxn>
                <a:cxn ang="0">
                  <a:pos x="539" y="1147"/>
                </a:cxn>
                <a:cxn ang="0">
                  <a:pos x="588" y="1318"/>
                </a:cxn>
                <a:cxn ang="0">
                  <a:pos x="664" y="1471"/>
                </a:cxn>
                <a:cxn ang="0">
                  <a:pos x="767" y="1601"/>
                </a:cxn>
                <a:cxn ang="0">
                  <a:pos x="896" y="1707"/>
                </a:cxn>
                <a:cxn ang="0">
                  <a:pos x="1050" y="1784"/>
                </a:cxn>
                <a:cxn ang="0">
                  <a:pos x="1229" y="1828"/>
                </a:cxn>
                <a:cxn ang="0">
                  <a:pos x="1422" y="1838"/>
                </a:cxn>
                <a:cxn ang="0">
                  <a:pos x="1574" y="1826"/>
                </a:cxn>
                <a:cxn ang="0">
                  <a:pos x="1662" y="1810"/>
                </a:cxn>
                <a:cxn ang="0">
                  <a:pos x="1726" y="2088"/>
                </a:cxn>
                <a:cxn ang="0">
                  <a:pos x="1578" y="2131"/>
                </a:cxn>
                <a:cxn ang="0">
                  <a:pos x="1427" y="2161"/>
                </a:cxn>
                <a:cxn ang="0">
                  <a:pos x="1273" y="2179"/>
                </a:cxn>
                <a:cxn ang="0">
                  <a:pos x="1121" y="2185"/>
                </a:cxn>
                <a:cxn ang="0">
                  <a:pos x="858" y="2164"/>
                </a:cxn>
                <a:cxn ang="0">
                  <a:pos x="629" y="2102"/>
                </a:cxn>
                <a:cxn ang="0">
                  <a:pos x="436" y="2002"/>
                </a:cxn>
                <a:cxn ang="0">
                  <a:pos x="280" y="1864"/>
                </a:cxn>
                <a:cxn ang="0">
                  <a:pos x="157" y="1694"/>
                </a:cxn>
                <a:cxn ang="0">
                  <a:pos x="70" y="1491"/>
                </a:cxn>
                <a:cxn ang="0">
                  <a:pos x="18" y="1259"/>
                </a:cxn>
                <a:cxn ang="0">
                  <a:pos x="0" y="999"/>
                </a:cxn>
                <a:cxn ang="0">
                  <a:pos x="16" y="783"/>
                </a:cxn>
                <a:cxn ang="0">
                  <a:pos x="61" y="589"/>
                </a:cxn>
                <a:cxn ang="0">
                  <a:pos x="137" y="417"/>
                </a:cxn>
                <a:cxn ang="0">
                  <a:pos x="243" y="273"/>
                </a:cxn>
                <a:cxn ang="0">
                  <a:pos x="378" y="156"/>
                </a:cxn>
                <a:cxn ang="0">
                  <a:pos x="541" y="71"/>
                </a:cxn>
                <a:cxn ang="0">
                  <a:pos x="732" y="18"/>
                </a:cxn>
                <a:cxn ang="0">
                  <a:pos x="952" y="0"/>
                </a:cxn>
                <a:cxn ang="0">
                  <a:pos x="1134" y="12"/>
                </a:cxn>
                <a:cxn ang="0">
                  <a:pos x="1294" y="47"/>
                </a:cxn>
                <a:cxn ang="0">
                  <a:pos x="1431" y="106"/>
                </a:cxn>
                <a:cxn ang="0">
                  <a:pos x="1544" y="189"/>
                </a:cxn>
                <a:cxn ang="0">
                  <a:pos x="1634" y="297"/>
                </a:cxn>
                <a:cxn ang="0">
                  <a:pos x="1698" y="428"/>
                </a:cxn>
                <a:cxn ang="0">
                  <a:pos x="1737" y="585"/>
                </a:cxn>
                <a:cxn ang="0">
                  <a:pos x="1750" y="765"/>
                </a:cxn>
              </a:cxnLst>
              <a:rect l="0" t="0" r="r" b="b"/>
              <a:pathLst>
                <a:path w="1750" h="2185">
                  <a:moveTo>
                    <a:pt x="1234" y="765"/>
                  </a:moveTo>
                  <a:lnTo>
                    <a:pt x="1233" y="725"/>
                  </a:lnTo>
                  <a:lnTo>
                    <a:pt x="1231" y="685"/>
                  </a:lnTo>
                  <a:lnTo>
                    <a:pt x="1229" y="665"/>
                  </a:lnTo>
                  <a:lnTo>
                    <a:pt x="1226" y="646"/>
                  </a:lnTo>
                  <a:lnTo>
                    <a:pt x="1223" y="626"/>
                  </a:lnTo>
                  <a:lnTo>
                    <a:pt x="1220" y="607"/>
                  </a:lnTo>
                  <a:lnTo>
                    <a:pt x="1216" y="589"/>
                  </a:lnTo>
                  <a:lnTo>
                    <a:pt x="1211" y="571"/>
                  </a:lnTo>
                  <a:lnTo>
                    <a:pt x="1206" y="553"/>
                  </a:lnTo>
                  <a:lnTo>
                    <a:pt x="1200" y="535"/>
                  </a:lnTo>
                  <a:lnTo>
                    <a:pt x="1194" y="517"/>
                  </a:lnTo>
                  <a:lnTo>
                    <a:pt x="1187" y="501"/>
                  </a:lnTo>
                  <a:lnTo>
                    <a:pt x="1179" y="485"/>
                  </a:lnTo>
                  <a:lnTo>
                    <a:pt x="1171" y="470"/>
                  </a:lnTo>
                  <a:lnTo>
                    <a:pt x="1161" y="456"/>
                  </a:lnTo>
                  <a:lnTo>
                    <a:pt x="1151" y="442"/>
                  </a:lnTo>
                  <a:lnTo>
                    <a:pt x="1141" y="429"/>
                  </a:lnTo>
                  <a:lnTo>
                    <a:pt x="1129" y="416"/>
                  </a:lnTo>
                  <a:lnTo>
                    <a:pt x="1117" y="404"/>
                  </a:lnTo>
                  <a:lnTo>
                    <a:pt x="1103" y="394"/>
                  </a:lnTo>
                  <a:lnTo>
                    <a:pt x="1089" y="384"/>
                  </a:lnTo>
                  <a:lnTo>
                    <a:pt x="1074" y="375"/>
                  </a:lnTo>
                  <a:lnTo>
                    <a:pt x="1058" y="366"/>
                  </a:lnTo>
                  <a:lnTo>
                    <a:pt x="1041" y="359"/>
                  </a:lnTo>
                  <a:lnTo>
                    <a:pt x="1023" y="353"/>
                  </a:lnTo>
                  <a:lnTo>
                    <a:pt x="1004" y="348"/>
                  </a:lnTo>
                  <a:lnTo>
                    <a:pt x="985" y="344"/>
                  </a:lnTo>
                  <a:lnTo>
                    <a:pt x="964" y="341"/>
                  </a:lnTo>
                  <a:lnTo>
                    <a:pt x="942" y="339"/>
                  </a:lnTo>
                  <a:lnTo>
                    <a:pt x="919" y="338"/>
                  </a:lnTo>
                  <a:lnTo>
                    <a:pt x="891" y="339"/>
                  </a:lnTo>
                  <a:lnTo>
                    <a:pt x="863" y="342"/>
                  </a:lnTo>
                  <a:lnTo>
                    <a:pt x="837" y="347"/>
                  </a:lnTo>
                  <a:lnTo>
                    <a:pt x="812" y="353"/>
                  </a:lnTo>
                  <a:lnTo>
                    <a:pt x="788" y="361"/>
                  </a:lnTo>
                  <a:lnTo>
                    <a:pt x="765" y="370"/>
                  </a:lnTo>
                  <a:lnTo>
                    <a:pt x="744" y="381"/>
                  </a:lnTo>
                  <a:lnTo>
                    <a:pt x="723" y="393"/>
                  </a:lnTo>
                  <a:lnTo>
                    <a:pt x="704" y="406"/>
                  </a:lnTo>
                  <a:lnTo>
                    <a:pt x="686" y="421"/>
                  </a:lnTo>
                  <a:lnTo>
                    <a:pt x="669" y="437"/>
                  </a:lnTo>
                  <a:lnTo>
                    <a:pt x="653" y="453"/>
                  </a:lnTo>
                  <a:lnTo>
                    <a:pt x="639" y="471"/>
                  </a:lnTo>
                  <a:lnTo>
                    <a:pt x="625" y="490"/>
                  </a:lnTo>
                  <a:lnTo>
                    <a:pt x="612" y="510"/>
                  </a:lnTo>
                  <a:lnTo>
                    <a:pt x="600" y="531"/>
                  </a:lnTo>
                  <a:lnTo>
                    <a:pt x="589" y="553"/>
                  </a:lnTo>
                  <a:lnTo>
                    <a:pt x="579" y="575"/>
                  </a:lnTo>
                  <a:lnTo>
                    <a:pt x="569" y="597"/>
                  </a:lnTo>
                  <a:lnTo>
                    <a:pt x="561" y="620"/>
                  </a:lnTo>
                  <a:lnTo>
                    <a:pt x="553" y="644"/>
                  </a:lnTo>
                  <a:lnTo>
                    <a:pt x="547" y="667"/>
                  </a:lnTo>
                  <a:lnTo>
                    <a:pt x="541" y="692"/>
                  </a:lnTo>
                  <a:lnTo>
                    <a:pt x="535" y="716"/>
                  </a:lnTo>
                  <a:lnTo>
                    <a:pt x="531" y="740"/>
                  </a:lnTo>
                  <a:lnTo>
                    <a:pt x="527" y="765"/>
                  </a:lnTo>
                  <a:lnTo>
                    <a:pt x="524" y="790"/>
                  </a:lnTo>
                  <a:lnTo>
                    <a:pt x="521" y="815"/>
                  </a:lnTo>
                  <a:lnTo>
                    <a:pt x="519" y="840"/>
                  </a:lnTo>
                  <a:lnTo>
                    <a:pt x="518" y="864"/>
                  </a:lnTo>
                  <a:lnTo>
                    <a:pt x="517" y="888"/>
                  </a:lnTo>
                  <a:lnTo>
                    <a:pt x="517" y="911"/>
                  </a:lnTo>
                  <a:lnTo>
                    <a:pt x="517" y="960"/>
                  </a:lnTo>
                  <a:lnTo>
                    <a:pt x="520" y="1008"/>
                  </a:lnTo>
                  <a:lnTo>
                    <a:pt x="525" y="1055"/>
                  </a:lnTo>
                  <a:lnTo>
                    <a:pt x="531" y="1102"/>
                  </a:lnTo>
                  <a:lnTo>
                    <a:pt x="539" y="1147"/>
                  </a:lnTo>
                  <a:lnTo>
                    <a:pt x="548" y="1191"/>
                  </a:lnTo>
                  <a:lnTo>
                    <a:pt x="560" y="1235"/>
                  </a:lnTo>
                  <a:lnTo>
                    <a:pt x="573" y="1277"/>
                  </a:lnTo>
                  <a:lnTo>
                    <a:pt x="588" y="1318"/>
                  </a:lnTo>
                  <a:lnTo>
                    <a:pt x="604" y="1359"/>
                  </a:lnTo>
                  <a:lnTo>
                    <a:pt x="622" y="1398"/>
                  </a:lnTo>
                  <a:lnTo>
                    <a:pt x="642" y="1435"/>
                  </a:lnTo>
                  <a:lnTo>
                    <a:pt x="664" y="1471"/>
                  </a:lnTo>
                  <a:lnTo>
                    <a:pt x="687" y="1506"/>
                  </a:lnTo>
                  <a:lnTo>
                    <a:pt x="712" y="1539"/>
                  </a:lnTo>
                  <a:lnTo>
                    <a:pt x="739" y="1571"/>
                  </a:lnTo>
                  <a:lnTo>
                    <a:pt x="767" y="1601"/>
                  </a:lnTo>
                  <a:lnTo>
                    <a:pt x="797" y="1630"/>
                  </a:lnTo>
                  <a:lnTo>
                    <a:pt x="829" y="1658"/>
                  </a:lnTo>
                  <a:lnTo>
                    <a:pt x="862" y="1684"/>
                  </a:lnTo>
                  <a:lnTo>
                    <a:pt x="896" y="1707"/>
                  </a:lnTo>
                  <a:lnTo>
                    <a:pt x="932" y="1729"/>
                  </a:lnTo>
                  <a:lnTo>
                    <a:pt x="970" y="1749"/>
                  </a:lnTo>
                  <a:lnTo>
                    <a:pt x="1009" y="1767"/>
                  </a:lnTo>
                  <a:lnTo>
                    <a:pt x="1050" y="1784"/>
                  </a:lnTo>
                  <a:lnTo>
                    <a:pt x="1093" y="1798"/>
                  </a:lnTo>
                  <a:lnTo>
                    <a:pt x="1137" y="1810"/>
                  </a:lnTo>
                  <a:lnTo>
                    <a:pt x="1182" y="1820"/>
                  </a:lnTo>
                  <a:lnTo>
                    <a:pt x="1229" y="1828"/>
                  </a:lnTo>
                  <a:lnTo>
                    <a:pt x="1277" y="1834"/>
                  </a:lnTo>
                  <a:lnTo>
                    <a:pt x="1327" y="1837"/>
                  </a:lnTo>
                  <a:lnTo>
                    <a:pt x="1379" y="1838"/>
                  </a:lnTo>
                  <a:lnTo>
                    <a:pt x="1422" y="1838"/>
                  </a:lnTo>
                  <a:lnTo>
                    <a:pt x="1465" y="1836"/>
                  </a:lnTo>
                  <a:lnTo>
                    <a:pt x="1508" y="1834"/>
                  </a:lnTo>
                  <a:lnTo>
                    <a:pt x="1552" y="1829"/>
                  </a:lnTo>
                  <a:lnTo>
                    <a:pt x="1574" y="1826"/>
                  </a:lnTo>
                  <a:lnTo>
                    <a:pt x="1596" y="1823"/>
                  </a:lnTo>
                  <a:lnTo>
                    <a:pt x="1619" y="1819"/>
                  </a:lnTo>
                  <a:lnTo>
                    <a:pt x="1640" y="1815"/>
                  </a:lnTo>
                  <a:lnTo>
                    <a:pt x="1662" y="1810"/>
                  </a:lnTo>
                  <a:lnTo>
                    <a:pt x="1683" y="1804"/>
                  </a:lnTo>
                  <a:lnTo>
                    <a:pt x="1705" y="1797"/>
                  </a:lnTo>
                  <a:lnTo>
                    <a:pt x="1726" y="1790"/>
                  </a:lnTo>
                  <a:lnTo>
                    <a:pt x="1726" y="2088"/>
                  </a:lnTo>
                  <a:lnTo>
                    <a:pt x="1690" y="2100"/>
                  </a:lnTo>
                  <a:lnTo>
                    <a:pt x="1653" y="2111"/>
                  </a:lnTo>
                  <a:lnTo>
                    <a:pt x="1616" y="2121"/>
                  </a:lnTo>
                  <a:lnTo>
                    <a:pt x="1578" y="2131"/>
                  </a:lnTo>
                  <a:lnTo>
                    <a:pt x="1540" y="2139"/>
                  </a:lnTo>
                  <a:lnTo>
                    <a:pt x="1502" y="2147"/>
                  </a:lnTo>
                  <a:lnTo>
                    <a:pt x="1465" y="2154"/>
                  </a:lnTo>
                  <a:lnTo>
                    <a:pt x="1427" y="2161"/>
                  </a:lnTo>
                  <a:lnTo>
                    <a:pt x="1389" y="2166"/>
                  </a:lnTo>
                  <a:lnTo>
                    <a:pt x="1350" y="2171"/>
                  </a:lnTo>
                  <a:lnTo>
                    <a:pt x="1311" y="2176"/>
                  </a:lnTo>
                  <a:lnTo>
                    <a:pt x="1273" y="2179"/>
                  </a:lnTo>
                  <a:lnTo>
                    <a:pt x="1235" y="2182"/>
                  </a:lnTo>
                  <a:lnTo>
                    <a:pt x="1197" y="2183"/>
                  </a:lnTo>
                  <a:lnTo>
                    <a:pt x="1159" y="2185"/>
                  </a:lnTo>
                  <a:lnTo>
                    <a:pt x="1121" y="2185"/>
                  </a:lnTo>
                  <a:lnTo>
                    <a:pt x="1051" y="2184"/>
                  </a:lnTo>
                  <a:lnTo>
                    <a:pt x="985" y="2180"/>
                  </a:lnTo>
                  <a:lnTo>
                    <a:pt x="920" y="2173"/>
                  </a:lnTo>
                  <a:lnTo>
                    <a:pt x="858" y="2164"/>
                  </a:lnTo>
                  <a:lnTo>
                    <a:pt x="798" y="2152"/>
                  </a:lnTo>
                  <a:lnTo>
                    <a:pt x="739" y="2138"/>
                  </a:lnTo>
                  <a:lnTo>
                    <a:pt x="683" y="2121"/>
                  </a:lnTo>
                  <a:lnTo>
                    <a:pt x="629" y="2102"/>
                  </a:lnTo>
                  <a:lnTo>
                    <a:pt x="578" y="2081"/>
                  </a:lnTo>
                  <a:lnTo>
                    <a:pt x="529" y="2057"/>
                  </a:lnTo>
                  <a:lnTo>
                    <a:pt x="481" y="2030"/>
                  </a:lnTo>
                  <a:lnTo>
                    <a:pt x="436" y="2002"/>
                  </a:lnTo>
                  <a:lnTo>
                    <a:pt x="394" y="1971"/>
                  </a:lnTo>
                  <a:lnTo>
                    <a:pt x="354" y="1938"/>
                  </a:lnTo>
                  <a:lnTo>
                    <a:pt x="315" y="1902"/>
                  </a:lnTo>
                  <a:lnTo>
                    <a:pt x="280" y="1864"/>
                  </a:lnTo>
                  <a:lnTo>
                    <a:pt x="246" y="1825"/>
                  </a:lnTo>
                  <a:lnTo>
                    <a:pt x="213" y="1783"/>
                  </a:lnTo>
                  <a:lnTo>
                    <a:pt x="184" y="1740"/>
                  </a:lnTo>
                  <a:lnTo>
                    <a:pt x="157" y="1694"/>
                  </a:lnTo>
                  <a:lnTo>
                    <a:pt x="132" y="1647"/>
                  </a:lnTo>
                  <a:lnTo>
                    <a:pt x="109" y="1596"/>
                  </a:lnTo>
                  <a:lnTo>
                    <a:pt x="88" y="1545"/>
                  </a:lnTo>
                  <a:lnTo>
                    <a:pt x="70" y="1491"/>
                  </a:lnTo>
                  <a:lnTo>
                    <a:pt x="53" y="1436"/>
                  </a:lnTo>
                  <a:lnTo>
                    <a:pt x="39" y="1379"/>
                  </a:lnTo>
                  <a:lnTo>
                    <a:pt x="27" y="1319"/>
                  </a:lnTo>
                  <a:lnTo>
                    <a:pt x="18" y="1259"/>
                  </a:lnTo>
                  <a:lnTo>
                    <a:pt x="10" y="1197"/>
                  </a:lnTo>
                  <a:lnTo>
                    <a:pt x="5" y="1133"/>
                  </a:lnTo>
                  <a:lnTo>
                    <a:pt x="1" y="1067"/>
                  </a:lnTo>
                  <a:lnTo>
                    <a:pt x="0" y="999"/>
                  </a:lnTo>
                  <a:lnTo>
                    <a:pt x="1" y="944"/>
                  </a:lnTo>
                  <a:lnTo>
                    <a:pt x="4" y="889"/>
                  </a:lnTo>
                  <a:lnTo>
                    <a:pt x="9" y="836"/>
                  </a:lnTo>
                  <a:lnTo>
                    <a:pt x="16" y="783"/>
                  </a:lnTo>
                  <a:lnTo>
                    <a:pt x="24" y="732"/>
                  </a:lnTo>
                  <a:lnTo>
                    <a:pt x="35" y="683"/>
                  </a:lnTo>
                  <a:lnTo>
                    <a:pt x="47" y="635"/>
                  </a:lnTo>
                  <a:lnTo>
                    <a:pt x="61" y="589"/>
                  </a:lnTo>
                  <a:lnTo>
                    <a:pt x="78" y="544"/>
                  </a:lnTo>
                  <a:lnTo>
                    <a:pt x="96" y="499"/>
                  </a:lnTo>
                  <a:lnTo>
                    <a:pt x="115" y="458"/>
                  </a:lnTo>
                  <a:lnTo>
                    <a:pt x="137" y="417"/>
                  </a:lnTo>
                  <a:lnTo>
                    <a:pt x="161" y="379"/>
                  </a:lnTo>
                  <a:lnTo>
                    <a:pt x="186" y="342"/>
                  </a:lnTo>
                  <a:lnTo>
                    <a:pt x="213" y="307"/>
                  </a:lnTo>
                  <a:lnTo>
                    <a:pt x="243" y="273"/>
                  </a:lnTo>
                  <a:lnTo>
                    <a:pt x="274" y="242"/>
                  </a:lnTo>
                  <a:lnTo>
                    <a:pt x="307" y="211"/>
                  </a:lnTo>
                  <a:lnTo>
                    <a:pt x="341" y="183"/>
                  </a:lnTo>
                  <a:lnTo>
                    <a:pt x="378" y="156"/>
                  </a:lnTo>
                  <a:lnTo>
                    <a:pt x="416" y="132"/>
                  </a:lnTo>
                  <a:lnTo>
                    <a:pt x="455" y="110"/>
                  </a:lnTo>
                  <a:lnTo>
                    <a:pt x="497" y="89"/>
                  </a:lnTo>
                  <a:lnTo>
                    <a:pt x="541" y="71"/>
                  </a:lnTo>
                  <a:lnTo>
                    <a:pt x="586" y="55"/>
                  </a:lnTo>
                  <a:lnTo>
                    <a:pt x="633" y="40"/>
                  </a:lnTo>
                  <a:lnTo>
                    <a:pt x="682" y="28"/>
                  </a:lnTo>
                  <a:lnTo>
                    <a:pt x="732" y="18"/>
                  </a:lnTo>
                  <a:lnTo>
                    <a:pt x="785" y="10"/>
                  </a:lnTo>
                  <a:lnTo>
                    <a:pt x="839" y="5"/>
                  </a:lnTo>
                  <a:lnTo>
                    <a:pt x="894" y="1"/>
                  </a:lnTo>
                  <a:lnTo>
                    <a:pt x="952" y="0"/>
                  </a:lnTo>
                  <a:lnTo>
                    <a:pt x="999" y="1"/>
                  </a:lnTo>
                  <a:lnTo>
                    <a:pt x="1045" y="3"/>
                  </a:lnTo>
                  <a:lnTo>
                    <a:pt x="1091" y="7"/>
                  </a:lnTo>
                  <a:lnTo>
                    <a:pt x="1134" y="12"/>
                  </a:lnTo>
                  <a:lnTo>
                    <a:pt x="1176" y="18"/>
                  </a:lnTo>
                  <a:lnTo>
                    <a:pt x="1217" y="26"/>
                  </a:lnTo>
                  <a:lnTo>
                    <a:pt x="1256" y="36"/>
                  </a:lnTo>
                  <a:lnTo>
                    <a:pt x="1294" y="47"/>
                  </a:lnTo>
                  <a:lnTo>
                    <a:pt x="1330" y="59"/>
                  </a:lnTo>
                  <a:lnTo>
                    <a:pt x="1366" y="74"/>
                  </a:lnTo>
                  <a:lnTo>
                    <a:pt x="1399" y="89"/>
                  </a:lnTo>
                  <a:lnTo>
                    <a:pt x="1431" y="106"/>
                  </a:lnTo>
                  <a:lnTo>
                    <a:pt x="1462" y="124"/>
                  </a:lnTo>
                  <a:lnTo>
                    <a:pt x="1491" y="144"/>
                  </a:lnTo>
                  <a:lnTo>
                    <a:pt x="1518" y="166"/>
                  </a:lnTo>
                  <a:lnTo>
                    <a:pt x="1544" y="189"/>
                  </a:lnTo>
                  <a:lnTo>
                    <a:pt x="1569" y="213"/>
                  </a:lnTo>
                  <a:lnTo>
                    <a:pt x="1592" y="240"/>
                  </a:lnTo>
                  <a:lnTo>
                    <a:pt x="1613" y="268"/>
                  </a:lnTo>
                  <a:lnTo>
                    <a:pt x="1634" y="297"/>
                  </a:lnTo>
                  <a:lnTo>
                    <a:pt x="1652" y="327"/>
                  </a:lnTo>
                  <a:lnTo>
                    <a:pt x="1669" y="359"/>
                  </a:lnTo>
                  <a:lnTo>
                    <a:pt x="1684" y="393"/>
                  </a:lnTo>
                  <a:lnTo>
                    <a:pt x="1698" y="428"/>
                  </a:lnTo>
                  <a:lnTo>
                    <a:pt x="1710" y="465"/>
                  </a:lnTo>
                  <a:lnTo>
                    <a:pt x="1721" y="503"/>
                  </a:lnTo>
                  <a:lnTo>
                    <a:pt x="1730" y="544"/>
                  </a:lnTo>
                  <a:lnTo>
                    <a:pt x="1737" y="585"/>
                  </a:lnTo>
                  <a:lnTo>
                    <a:pt x="1743" y="628"/>
                  </a:lnTo>
                  <a:lnTo>
                    <a:pt x="1747" y="672"/>
                  </a:lnTo>
                  <a:lnTo>
                    <a:pt x="1749" y="718"/>
                  </a:lnTo>
                  <a:lnTo>
                    <a:pt x="1750" y="765"/>
                  </a:lnTo>
                  <a:lnTo>
                    <a:pt x="1234" y="76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  <a:cs typeface="+mn-cs"/>
              </a:endParaRPr>
            </a:p>
          </p:txBody>
        </p:sp>
        <p:sp>
          <p:nvSpPr>
            <p:cNvPr id="9" name="Freeform 6"/>
            <p:cNvSpPr>
              <a:spLocks/>
            </p:cNvSpPr>
            <p:nvPr/>
          </p:nvSpPr>
          <p:spPr bwMode="gray">
            <a:xfrm>
              <a:off x="1327150" y="2708275"/>
              <a:ext cx="377825" cy="473075"/>
            </a:xfrm>
            <a:custGeom>
              <a:avLst/>
              <a:gdLst/>
              <a:ahLst/>
              <a:cxnLst>
                <a:cxn ang="0">
                  <a:pos x="1229" y="665"/>
                </a:cxn>
                <a:cxn ang="0">
                  <a:pos x="1216" y="589"/>
                </a:cxn>
                <a:cxn ang="0">
                  <a:pos x="1194" y="517"/>
                </a:cxn>
                <a:cxn ang="0">
                  <a:pos x="1162" y="456"/>
                </a:cxn>
                <a:cxn ang="0">
                  <a:pos x="1116" y="404"/>
                </a:cxn>
                <a:cxn ang="0">
                  <a:pos x="1058" y="366"/>
                </a:cxn>
                <a:cxn ang="0">
                  <a:pos x="985" y="344"/>
                </a:cxn>
                <a:cxn ang="0">
                  <a:pos x="892" y="339"/>
                </a:cxn>
                <a:cxn ang="0">
                  <a:pos x="790" y="361"/>
                </a:cxn>
                <a:cxn ang="0">
                  <a:pos x="708" y="406"/>
                </a:cxn>
                <a:cxn ang="0">
                  <a:pos x="642" y="471"/>
                </a:cxn>
                <a:cxn ang="0">
                  <a:pos x="592" y="553"/>
                </a:cxn>
                <a:cxn ang="0">
                  <a:pos x="555" y="644"/>
                </a:cxn>
                <a:cxn ang="0">
                  <a:pos x="531" y="740"/>
                </a:cxn>
                <a:cxn ang="0">
                  <a:pos x="519" y="840"/>
                </a:cxn>
                <a:cxn ang="0">
                  <a:pos x="517" y="960"/>
                </a:cxn>
                <a:cxn ang="0">
                  <a:pos x="538" y="1147"/>
                </a:cxn>
                <a:cxn ang="0">
                  <a:pos x="588" y="1318"/>
                </a:cxn>
                <a:cxn ang="0">
                  <a:pos x="664" y="1471"/>
                </a:cxn>
                <a:cxn ang="0">
                  <a:pos x="767" y="1601"/>
                </a:cxn>
                <a:cxn ang="0">
                  <a:pos x="897" y="1707"/>
                </a:cxn>
                <a:cxn ang="0">
                  <a:pos x="1050" y="1784"/>
                </a:cxn>
                <a:cxn ang="0">
                  <a:pos x="1229" y="1828"/>
                </a:cxn>
                <a:cxn ang="0">
                  <a:pos x="1425" y="1838"/>
                </a:cxn>
                <a:cxn ang="0">
                  <a:pos x="1577" y="1826"/>
                </a:cxn>
                <a:cxn ang="0">
                  <a:pos x="1662" y="1810"/>
                </a:cxn>
                <a:cxn ang="0">
                  <a:pos x="1726" y="2088"/>
                </a:cxn>
                <a:cxn ang="0">
                  <a:pos x="1578" y="2131"/>
                </a:cxn>
                <a:cxn ang="0">
                  <a:pos x="1427" y="2161"/>
                </a:cxn>
                <a:cxn ang="0">
                  <a:pos x="1273" y="2179"/>
                </a:cxn>
                <a:cxn ang="0">
                  <a:pos x="1121" y="2185"/>
                </a:cxn>
                <a:cxn ang="0">
                  <a:pos x="858" y="2164"/>
                </a:cxn>
                <a:cxn ang="0">
                  <a:pos x="630" y="2102"/>
                </a:cxn>
                <a:cxn ang="0">
                  <a:pos x="437" y="2002"/>
                </a:cxn>
                <a:cxn ang="0">
                  <a:pos x="279" y="1864"/>
                </a:cxn>
                <a:cxn ang="0">
                  <a:pos x="157" y="1694"/>
                </a:cxn>
                <a:cxn ang="0">
                  <a:pos x="70" y="1491"/>
                </a:cxn>
                <a:cxn ang="0">
                  <a:pos x="17" y="1259"/>
                </a:cxn>
                <a:cxn ang="0">
                  <a:pos x="0" y="999"/>
                </a:cxn>
                <a:cxn ang="0">
                  <a:pos x="15" y="783"/>
                </a:cxn>
                <a:cxn ang="0">
                  <a:pos x="62" y="589"/>
                </a:cxn>
                <a:cxn ang="0">
                  <a:pos x="138" y="417"/>
                </a:cxn>
                <a:cxn ang="0">
                  <a:pos x="244" y="273"/>
                </a:cxn>
                <a:cxn ang="0">
                  <a:pos x="380" y="156"/>
                </a:cxn>
                <a:cxn ang="0">
                  <a:pos x="544" y="71"/>
                </a:cxn>
                <a:cxn ang="0">
                  <a:pos x="738" y="18"/>
                </a:cxn>
                <a:cxn ang="0">
                  <a:pos x="960" y="0"/>
                </a:cxn>
                <a:cxn ang="0">
                  <a:pos x="1140" y="12"/>
                </a:cxn>
                <a:cxn ang="0">
                  <a:pos x="1298" y="47"/>
                </a:cxn>
                <a:cxn ang="0">
                  <a:pos x="1434" y="106"/>
                </a:cxn>
                <a:cxn ang="0">
                  <a:pos x="1546" y="189"/>
                </a:cxn>
                <a:cxn ang="0">
                  <a:pos x="1634" y="297"/>
                </a:cxn>
                <a:cxn ang="0">
                  <a:pos x="1699" y="428"/>
                </a:cxn>
                <a:cxn ang="0">
                  <a:pos x="1737" y="585"/>
                </a:cxn>
                <a:cxn ang="0">
                  <a:pos x="1751" y="765"/>
                </a:cxn>
              </a:cxnLst>
              <a:rect l="0" t="0" r="r" b="b"/>
              <a:pathLst>
                <a:path w="1751" h="2185">
                  <a:moveTo>
                    <a:pt x="1234" y="765"/>
                  </a:moveTo>
                  <a:lnTo>
                    <a:pt x="1233" y="725"/>
                  </a:lnTo>
                  <a:lnTo>
                    <a:pt x="1231" y="685"/>
                  </a:lnTo>
                  <a:lnTo>
                    <a:pt x="1229" y="665"/>
                  </a:lnTo>
                  <a:lnTo>
                    <a:pt x="1227" y="646"/>
                  </a:lnTo>
                  <a:lnTo>
                    <a:pt x="1224" y="626"/>
                  </a:lnTo>
                  <a:lnTo>
                    <a:pt x="1220" y="607"/>
                  </a:lnTo>
                  <a:lnTo>
                    <a:pt x="1216" y="589"/>
                  </a:lnTo>
                  <a:lnTo>
                    <a:pt x="1212" y="571"/>
                  </a:lnTo>
                  <a:lnTo>
                    <a:pt x="1206" y="553"/>
                  </a:lnTo>
                  <a:lnTo>
                    <a:pt x="1201" y="535"/>
                  </a:lnTo>
                  <a:lnTo>
                    <a:pt x="1194" y="517"/>
                  </a:lnTo>
                  <a:lnTo>
                    <a:pt x="1187" y="501"/>
                  </a:lnTo>
                  <a:lnTo>
                    <a:pt x="1179" y="485"/>
                  </a:lnTo>
                  <a:lnTo>
                    <a:pt x="1171" y="470"/>
                  </a:lnTo>
                  <a:lnTo>
                    <a:pt x="1162" y="456"/>
                  </a:lnTo>
                  <a:lnTo>
                    <a:pt x="1152" y="442"/>
                  </a:lnTo>
                  <a:lnTo>
                    <a:pt x="1141" y="429"/>
                  </a:lnTo>
                  <a:lnTo>
                    <a:pt x="1129" y="416"/>
                  </a:lnTo>
                  <a:lnTo>
                    <a:pt x="1116" y="404"/>
                  </a:lnTo>
                  <a:lnTo>
                    <a:pt x="1103" y="394"/>
                  </a:lnTo>
                  <a:lnTo>
                    <a:pt x="1089" y="384"/>
                  </a:lnTo>
                  <a:lnTo>
                    <a:pt x="1074" y="375"/>
                  </a:lnTo>
                  <a:lnTo>
                    <a:pt x="1058" y="366"/>
                  </a:lnTo>
                  <a:lnTo>
                    <a:pt x="1041" y="359"/>
                  </a:lnTo>
                  <a:lnTo>
                    <a:pt x="1023" y="353"/>
                  </a:lnTo>
                  <a:lnTo>
                    <a:pt x="1005" y="348"/>
                  </a:lnTo>
                  <a:lnTo>
                    <a:pt x="985" y="344"/>
                  </a:lnTo>
                  <a:lnTo>
                    <a:pt x="964" y="341"/>
                  </a:lnTo>
                  <a:lnTo>
                    <a:pt x="943" y="339"/>
                  </a:lnTo>
                  <a:lnTo>
                    <a:pt x="920" y="338"/>
                  </a:lnTo>
                  <a:lnTo>
                    <a:pt x="892" y="339"/>
                  </a:lnTo>
                  <a:lnTo>
                    <a:pt x="865" y="342"/>
                  </a:lnTo>
                  <a:lnTo>
                    <a:pt x="838" y="347"/>
                  </a:lnTo>
                  <a:lnTo>
                    <a:pt x="814" y="353"/>
                  </a:lnTo>
                  <a:lnTo>
                    <a:pt x="790" y="361"/>
                  </a:lnTo>
                  <a:lnTo>
                    <a:pt x="768" y="370"/>
                  </a:lnTo>
                  <a:lnTo>
                    <a:pt x="747" y="381"/>
                  </a:lnTo>
                  <a:lnTo>
                    <a:pt x="727" y="393"/>
                  </a:lnTo>
                  <a:lnTo>
                    <a:pt x="708" y="406"/>
                  </a:lnTo>
                  <a:lnTo>
                    <a:pt x="690" y="421"/>
                  </a:lnTo>
                  <a:lnTo>
                    <a:pt x="673" y="437"/>
                  </a:lnTo>
                  <a:lnTo>
                    <a:pt x="657" y="453"/>
                  </a:lnTo>
                  <a:lnTo>
                    <a:pt x="642" y="471"/>
                  </a:lnTo>
                  <a:lnTo>
                    <a:pt x="628" y="490"/>
                  </a:lnTo>
                  <a:lnTo>
                    <a:pt x="615" y="510"/>
                  </a:lnTo>
                  <a:lnTo>
                    <a:pt x="603" y="531"/>
                  </a:lnTo>
                  <a:lnTo>
                    <a:pt x="592" y="553"/>
                  </a:lnTo>
                  <a:lnTo>
                    <a:pt x="582" y="575"/>
                  </a:lnTo>
                  <a:lnTo>
                    <a:pt x="571" y="597"/>
                  </a:lnTo>
                  <a:lnTo>
                    <a:pt x="563" y="620"/>
                  </a:lnTo>
                  <a:lnTo>
                    <a:pt x="555" y="644"/>
                  </a:lnTo>
                  <a:lnTo>
                    <a:pt x="548" y="667"/>
                  </a:lnTo>
                  <a:lnTo>
                    <a:pt x="541" y="692"/>
                  </a:lnTo>
                  <a:lnTo>
                    <a:pt x="536" y="716"/>
                  </a:lnTo>
                  <a:lnTo>
                    <a:pt x="531" y="740"/>
                  </a:lnTo>
                  <a:lnTo>
                    <a:pt x="527" y="765"/>
                  </a:lnTo>
                  <a:lnTo>
                    <a:pt x="523" y="790"/>
                  </a:lnTo>
                  <a:lnTo>
                    <a:pt x="521" y="815"/>
                  </a:lnTo>
                  <a:lnTo>
                    <a:pt x="519" y="840"/>
                  </a:lnTo>
                  <a:lnTo>
                    <a:pt x="517" y="864"/>
                  </a:lnTo>
                  <a:lnTo>
                    <a:pt x="516" y="888"/>
                  </a:lnTo>
                  <a:lnTo>
                    <a:pt x="516" y="911"/>
                  </a:lnTo>
                  <a:lnTo>
                    <a:pt x="517" y="960"/>
                  </a:lnTo>
                  <a:lnTo>
                    <a:pt x="520" y="1008"/>
                  </a:lnTo>
                  <a:lnTo>
                    <a:pt x="524" y="1055"/>
                  </a:lnTo>
                  <a:lnTo>
                    <a:pt x="530" y="1102"/>
                  </a:lnTo>
                  <a:lnTo>
                    <a:pt x="538" y="1147"/>
                  </a:lnTo>
                  <a:lnTo>
                    <a:pt x="548" y="1191"/>
                  </a:lnTo>
                  <a:lnTo>
                    <a:pt x="559" y="1235"/>
                  </a:lnTo>
                  <a:lnTo>
                    <a:pt x="572" y="1277"/>
                  </a:lnTo>
                  <a:lnTo>
                    <a:pt x="588" y="1318"/>
                  </a:lnTo>
                  <a:lnTo>
                    <a:pt x="605" y="1359"/>
                  </a:lnTo>
                  <a:lnTo>
                    <a:pt x="623" y="1398"/>
                  </a:lnTo>
                  <a:lnTo>
                    <a:pt x="643" y="1435"/>
                  </a:lnTo>
                  <a:lnTo>
                    <a:pt x="664" y="1471"/>
                  </a:lnTo>
                  <a:lnTo>
                    <a:pt x="688" y="1506"/>
                  </a:lnTo>
                  <a:lnTo>
                    <a:pt x="712" y="1539"/>
                  </a:lnTo>
                  <a:lnTo>
                    <a:pt x="739" y="1571"/>
                  </a:lnTo>
                  <a:lnTo>
                    <a:pt x="767" y="1601"/>
                  </a:lnTo>
                  <a:lnTo>
                    <a:pt x="797" y="1630"/>
                  </a:lnTo>
                  <a:lnTo>
                    <a:pt x="828" y="1658"/>
                  </a:lnTo>
                  <a:lnTo>
                    <a:pt x="862" y="1684"/>
                  </a:lnTo>
                  <a:lnTo>
                    <a:pt x="897" y="1707"/>
                  </a:lnTo>
                  <a:lnTo>
                    <a:pt x="933" y="1729"/>
                  </a:lnTo>
                  <a:lnTo>
                    <a:pt x="970" y="1749"/>
                  </a:lnTo>
                  <a:lnTo>
                    <a:pt x="1010" y="1767"/>
                  </a:lnTo>
                  <a:lnTo>
                    <a:pt x="1050" y="1784"/>
                  </a:lnTo>
                  <a:lnTo>
                    <a:pt x="1093" y="1798"/>
                  </a:lnTo>
                  <a:lnTo>
                    <a:pt x="1137" y="1810"/>
                  </a:lnTo>
                  <a:lnTo>
                    <a:pt x="1183" y="1820"/>
                  </a:lnTo>
                  <a:lnTo>
                    <a:pt x="1229" y="1828"/>
                  </a:lnTo>
                  <a:lnTo>
                    <a:pt x="1278" y="1834"/>
                  </a:lnTo>
                  <a:lnTo>
                    <a:pt x="1328" y="1837"/>
                  </a:lnTo>
                  <a:lnTo>
                    <a:pt x="1379" y="1838"/>
                  </a:lnTo>
                  <a:lnTo>
                    <a:pt x="1425" y="1838"/>
                  </a:lnTo>
                  <a:lnTo>
                    <a:pt x="1469" y="1836"/>
                  </a:lnTo>
                  <a:lnTo>
                    <a:pt x="1512" y="1834"/>
                  </a:lnTo>
                  <a:lnTo>
                    <a:pt x="1556" y="1829"/>
                  </a:lnTo>
                  <a:lnTo>
                    <a:pt x="1577" y="1826"/>
                  </a:lnTo>
                  <a:lnTo>
                    <a:pt x="1598" y="1823"/>
                  </a:lnTo>
                  <a:lnTo>
                    <a:pt x="1620" y="1819"/>
                  </a:lnTo>
                  <a:lnTo>
                    <a:pt x="1641" y="1815"/>
                  </a:lnTo>
                  <a:lnTo>
                    <a:pt x="1662" y="1810"/>
                  </a:lnTo>
                  <a:lnTo>
                    <a:pt x="1684" y="1804"/>
                  </a:lnTo>
                  <a:lnTo>
                    <a:pt x="1705" y="1797"/>
                  </a:lnTo>
                  <a:lnTo>
                    <a:pt x="1726" y="1790"/>
                  </a:lnTo>
                  <a:lnTo>
                    <a:pt x="1726" y="2088"/>
                  </a:lnTo>
                  <a:lnTo>
                    <a:pt x="1690" y="2100"/>
                  </a:lnTo>
                  <a:lnTo>
                    <a:pt x="1652" y="2111"/>
                  </a:lnTo>
                  <a:lnTo>
                    <a:pt x="1615" y="2121"/>
                  </a:lnTo>
                  <a:lnTo>
                    <a:pt x="1578" y="2131"/>
                  </a:lnTo>
                  <a:lnTo>
                    <a:pt x="1541" y="2139"/>
                  </a:lnTo>
                  <a:lnTo>
                    <a:pt x="1503" y="2147"/>
                  </a:lnTo>
                  <a:lnTo>
                    <a:pt x="1465" y="2154"/>
                  </a:lnTo>
                  <a:lnTo>
                    <a:pt x="1427" y="2161"/>
                  </a:lnTo>
                  <a:lnTo>
                    <a:pt x="1388" y="2166"/>
                  </a:lnTo>
                  <a:lnTo>
                    <a:pt x="1350" y="2171"/>
                  </a:lnTo>
                  <a:lnTo>
                    <a:pt x="1312" y="2176"/>
                  </a:lnTo>
                  <a:lnTo>
                    <a:pt x="1273" y="2179"/>
                  </a:lnTo>
                  <a:lnTo>
                    <a:pt x="1235" y="2182"/>
                  </a:lnTo>
                  <a:lnTo>
                    <a:pt x="1197" y="2183"/>
                  </a:lnTo>
                  <a:lnTo>
                    <a:pt x="1159" y="2185"/>
                  </a:lnTo>
                  <a:lnTo>
                    <a:pt x="1121" y="2185"/>
                  </a:lnTo>
                  <a:lnTo>
                    <a:pt x="1052" y="2184"/>
                  </a:lnTo>
                  <a:lnTo>
                    <a:pt x="985" y="2180"/>
                  </a:lnTo>
                  <a:lnTo>
                    <a:pt x="920" y="2173"/>
                  </a:lnTo>
                  <a:lnTo>
                    <a:pt x="858" y="2164"/>
                  </a:lnTo>
                  <a:lnTo>
                    <a:pt x="797" y="2152"/>
                  </a:lnTo>
                  <a:lnTo>
                    <a:pt x="739" y="2138"/>
                  </a:lnTo>
                  <a:lnTo>
                    <a:pt x="683" y="2121"/>
                  </a:lnTo>
                  <a:lnTo>
                    <a:pt x="630" y="2102"/>
                  </a:lnTo>
                  <a:lnTo>
                    <a:pt x="578" y="2081"/>
                  </a:lnTo>
                  <a:lnTo>
                    <a:pt x="528" y="2057"/>
                  </a:lnTo>
                  <a:lnTo>
                    <a:pt x="481" y="2030"/>
                  </a:lnTo>
                  <a:lnTo>
                    <a:pt x="437" y="2002"/>
                  </a:lnTo>
                  <a:lnTo>
                    <a:pt x="394" y="1971"/>
                  </a:lnTo>
                  <a:lnTo>
                    <a:pt x="354" y="1938"/>
                  </a:lnTo>
                  <a:lnTo>
                    <a:pt x="316" y="1902"/>
                  </a:lnTo>
                  <a:lnTo>
                    <a:pt x="279" y="1864"/>
                  </a:lnTo>
                  <a:lnTo>
                    <a:pt x="245" y="1825"/>
                  </a:lnTo>
                  <a:lnTo>
                    <a:pt x="214" y="1783"/>
                  </a:lnTo>
                  <a:lnTo>
                    <a:pt x="184" y="1740"/>
                  </a:lnTo>
                  <a:lnTo>
                    <a:pt x="157" y="1694"/>
                  </a:lnTo>
                  <a:lnTo>
                    <a:pt x="132" y="1647"/>
                  </a:lnTo>
                  <a:lnTo>
                    <a:pt x="109" y="1596"/>
                  </a:lnTo>
                  <a:lnTo>
                    <a:pt x="88" y="1545"/>
                  </a:lnTo>
                  <a:lnTo>
                    <a:pt x="70" y="1491"/>
                  </a:lnTo>
                  <a:lnTo>
                    <a:pt x="54" y="1436"/>
                  </a:lnTo>
                  <a:lnTo>
                    <a:pt x="40" y="1379"/>
                  </a:lnTo>
                  <a:lnTo>
                    <a:pt x="28" y="1319"/>
                  </a:lnTo>
                  <a:lnTo>
                    <a:pt x="17" y="1259"/>
                  </a:lnTo>
                  <a:lnTo>
                    <a:pt x="9" y="1197"/>
                  </a:lnTo>
                  <a:lnTo>
                    <a:pt x="4" y="1133"/>
                  </a:lnTo>
                  <a:lnTo>
                    <a:pt x="1" y="1067"/>
                  </a:lnTo>
                  <a:lnTo>
                    <a:pt x="0" y="999"/>
                  </a:lnTo>
                  <a:lnTo>
                    <a:pt x="1" y="944"/>
                  </a:lnTo>
                  <a:lnTo>
                    <a:pt x="3" y="889"/>
                  </a:lnTo>
                  <a:lnTo>
                    <a:pt x="8" y="836"/>
                  </a:lnTo>
                  <a:lnTo>
                    <a:pt x="15" y="783"/>
                  </a:lnTo>
                  <a:lnTo>
                    <a:pt x="25" y="732"/>
                  </a:lnTo>
                  <a:lnTo>
                    <a:pt x="35" y="683"/>
                  </a:lnTo>
                  <a:lnTo>
                    <a:pt x="48" y="635"/>
                  </a:lnTo>
                  <a:lnTo>
                    <a:pt x="62" y="589"/>
                  </a:lnTo>
                  <a:lnTo>
                    <a:pt x="78" y="544"/>
                  </a:lnTo>
                  <a:lnTo>
                    <a:pt x="96" y="499"/>
                  </a:lnTo>
                  <a:lnTo>
                    <a:pt x="116" y="458"/>
                  </a:lnTo>
                  <a:lnTo>
                    <a:pt x="138" y="417"/>
                  </a:lnTo>
                  <a:lnTo>
                    <a:pt x="162" y="379"/>
                  </a:lnTo>
                  <a:lnTo>
                    <a:pt x="187" y="342"/>
                  </a:lnTo>
                  <a:lnTo>
                    <a:pt x="214" y="307"/>
                  </a:lnTo>
                  <a:lnTo>
                    <a:pt x="244" y="273"/>
                  </a:lnTo>
                  <a:lnTo>
                    <a:pt x="275" y="242"/>
                  </a:lnTo>
                  <a:lnTo>
                    <a:pt x="309" y="211"/>
                  </a:lnTo>
                  <a:lnTo>
                    <a:pt x="343" y="183"/>
                  </a:lnTo>
                  <a:lnTo>
                    <a:pt x="380" y="156"/>
                  </a:lnTo>
                  <a:lnTo>
                    <a:pt x="418" y="132"/>
                  </a:lnTo>
                  <a:lnTo>
                    <a:pt x="458" y="110"/>
                  </a:lnTo>
                  <a:lnTo>
                    <a:pt x="500" y="89"/>
                  </a:lnTo>
                  <a:lnTo>
                    <a:pt x="544" y="71"/>
                  </a:lnTo>
                  <a:lnTo>
                    <a:pt x="591" y="55"/>
                  </a:lnTo>
                  <a:lnTo>
                    <a:pt x="638" y="40"/>
                  </a:lnTo>
                  <a:lnTo>
                    <a:pt x="687" y="28"/>
                  </a:lnTo>
                  <a:lnTo>
                    <a:pt x="738" y="18"/>
                  </a:lnTo>
                  <a:lnTo>
                    <a:pt x="790" y="10"/>
                  </a:lnTo>
                  <a:lnTo>
                    <a:pt x="845" y="5"/>
                  </a:lnTo>
                  <a:lnTo>
                    <a:pt x="902" y="1"/>
                  </a:lnTo>
                  <a:lnTo>
                    <a:pt x="960" y="0"/>
                  </a:lnTo>
                  <a:lnTo>
                    <a:pt x="1007" y="1"/>
                  </a:lnTo>
                  <a:lnTo>
                    <a:pt x="1052" y="3"/>
                  </a:lnTo>
                  <a:lnTo>
                    <a:pt x="1096" y="7"/>
                  </a:lnTo>
                  <a:lnTo>
                    <a:pt x="1140" y="12"/>
                  </a:lnTo>
                  <a:lnTo>
                    <a:pt x="1182" y="18"/>
                  </a:lnTo>
                  <a:lnTo>
                    <a:pt x="1222" y="26"/>
                  </a:lnTo>
                  <a:lnTo>
                    <a:pt x="1260" y="36"/>
                  </a:lnTo>
                  <a:lnTo>
                    <a:pt x="1298" y="47"/>
                  </a:lnTo>
                  <a:lnTo>
                    <a:pt x="1333" y="59"/>
                  </a:lnTo>
                  <a:lnTo>
                    <a:pt x="1368" y="74"/>
                  </a:lnTo>
                  <a:lnTo>
                    <a:pt x="1401" y="89"/>
                  </a:lnTo>
                  <a:lnTo>
                    <a:pt x="1434" y="106"/>
                  </a:lnTo>
                  <a:lnTo>
                    <a:pt x="1464" y="124"/>
                  </a:lnTo>
                  <a:lnTo>
                    <a:pt x="1492" y="144"/>
                  </a:lnTo>
                  <a:lnTo>
                    <a:pt x="1520" y="166"/>
                  </a:lnTo>
                  <a:lnTo>
                    <a:pt x="1546" y="189"/>
                  </a:lnTo>
                  <a:lnTo>
                    <a:pt x="1570" y="213"/>
                  </a:lnTo>
                  <a:lnTo>
                    <a:pt x="1593" y="240"/>
                  </a:lnTo>
                  <a:lnTo>
                    <a:pt x="1614" y="268"/>
                  </a:lnTo>
                  <a:lnTo>
                    <a:pt x="1634" y="297"/>
                  </a:lnTo>
                  <a:lnTo>
                    <a:pt x="1652" y="327"/>
                  </a:lnTo>
                  <a:lnTo>
                    <a:pt x="1669" y="359"/>
                  </a:lnTo>
                  <a:lnTo>
                    <a:pt x="1685" y="393"/>
                  </a:lnTo>
                  <a:lnTo>
                    <a:pt x="1699" y="428"/>
                  </a:lnTo>
                  <a:lnTo>
                    <a:pt x="1711" y="465"/>
                  </a:lnTo>
                  <a:lnTo>
                    <a:pt x="1721" y="503"/>
                  </a:lnTo>
                  <a:lnTo>
                    <a:pt x="1730" y="544"/>
                  </a:lnTo>
                  <a:lnTo>
                    <a:pt x="1737" y="585"/>
                  </a:lnTo>
                  <a:lnTo>
                    <a:pt x="1743" y="628"/>
                  </a:lnTo>
                  <a:lnTo>
                    <a:pt x="1747" y="672"/>
                  </a:lnTo>
                  <a:lnTo>
                    <a:pt x="1750" y="718"/>
                  </a:lnTo>
                  <a:lnTo>
                    <a:pt x="1751" y="765"/>
                  </a:lnTo>
                  <a:lnTo>
                    <a:pt x="1234" y="76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  <a:cs typeface="+mn-cs"/>
              </a:endParaRPr>
            </a:p>
          </p:txBody>
        </p:sp>
        <p:sp>
          <p:nvSpPr>
            <p:cNvPr id="10" name="Freeform 7"/>
            <p:cNvSpPr>
              <a:spLocks noEditPoints="1"/>
            </p:cNvSpPr>
            <p:nvPr/>
          </p:nvSpPr>
          <p:spPr bwMode="gray">
            <a:xfrm>
              <a:off x="1738313" y="2708275"/>
              <a:ext cx="366712" cy="473075"/>
            </a:xfrm>
            <a:custGeom>
              <a:avLst/>
              <a:gdLst/>
              <a:ahLst/>
              <a:cxnLst>
                <a:cxn ang="0">
                  <a:pos x="474" y="631"/>
                </a:cxn>
                <a:cxn ang="0">
                  <a:pos x="496" y="558"/>
                </a:cxn>
                <a:cxn ang="0">
                  <a:pos x="528" y="492"/>
                </a:cxn>
                <a:cxn ang="0">
                  <a:pos x="571" y="434"/>
                </a:cxn>
                <a:cxn ang="0">
                  <a:pos x="624" y="386"/>
                </a:cxn>
                <a:cxn ang="0">
                  <a:pos x="684" y="348"/>
                </a:cxn>
                <a:cxn ang="0">
                  <a:pos x="751" y="322"/>
                </a:cxn>
                <a:cxn ang="0">
                  <a:pos x="824" y="308"/>
                </a:cxn>
                <a:cxn ang="0">
                  <a:pos x="905" y="308"/>
                </a:cxn>
                <a:cxn ang="0">
                  <a:pos x="982" y="320"/>
                </a:cxn>
                <a:cxn ang="0">
                  <a:pos x="1049" y="345"/>
                </a:cxn>
                <a:cxn ang="0">
                  <a:pos x="1108" y="381"/>
                </a:cxn>
                <a:cxn ang="0">
                  <a:pos x="1157" y="427"/>
                </a:cxn>
                <a:cxn ang="0">
                  <a:pos x="1194" y="484"/>
                </a:cxn>
                <a:cxn ang="0">
                  <a:pos x="1220" y="552"/>
                </a:cxn>
                <a:cxn ang="0">
                  <a:pos x="1233" y="628"/>
                </a:cxn>
                <a:cxn ang="0">
                  <a:pos x="1694" y="847"/>
                </a:cxn>
                <a:cxn ang="0">
                  <a:pos x="1681" y="664"/>
                </a:cxn>
                <a:cxn ang="0">
                  <a:pos x="1644" y="499"/>
                </a:cxn>
                <a:cxn ang="0">
                  <a:pos x="1582" y="355"/>
                </a:cxn>
                <a:cxn ang="0">
                  <a:pos x="1495" y="232"/>
                </a:cxn>
                <a:cxn ang="0">
                  <a:pos x="1382" y="133"/>
                </a:cxn>
                <a:cxn ang="0">
                  <a:pos x="1245" y="61"/>
                </a:cxn>
                <a:cxn ang="0">
                  <a:pos x="1083" y="15"/>
                </a:cxn>
                <a:cxn ang="0">
                  <a:pos x="896" y="0"/>
                </a:cxn>
                <a:cxn ang="0">
                  <a:pos x="679" y="18"/>
                </a:cxn>
                <a:cxn ang="0">
                  <a:pos x="494" y="70"/>
                </a:cxn>
                <a:cxn ang="0">
                  <a:pos x="340" y="153"/>
                </a:cxn>
                <a:cxn ang="0">
                  <a:pos x="215" y="268"/>
                </a:cxn>
                <a:cxn ang="0">
                  <a:pos x="120" y="410"/>
                </a:cxn>
                <a:cxn ang="0">
                  <a:pos x="54" y="578"/>
                </a:cxn>
                <a:cxn ang="0">
                  <a:pos x="13" y="770"/>
                </a:cxn>
                <a:cxn ang="0">
                  <a:pos x="0" y="983"/>
                </a:cxn>
                <a:cxn ang="0">
                  <a:pos x="15" y="1232"/>
                </a:cxn>
                <a:cxn ang="0">
                  <a:pos x="62" y="1461"/>
                </a:cxn>
                <a:cxn ang="0">
                  <a:pos x="139" y="1666"/>
                </a:cxn>
                <a:cxn ang="0">
                  <a:pos x="250" y="1841"/>
                </a:cxn>
                <a:cxn ang="0">
                  <a:pos x="397" y="1986"/>
                </a:cxn>
                <a:cxn ang="0">
                  <a:pos x="579" y="2094"/>
                </a:cxn>
                <a:cxn ang="0">
                  <a:pos x="798" y="2161"/>
                </a:cxn>
                <a:cxn ang="0">
                  <a:pos x="1057" y="2185"/>
                </a:cxn>
                <a:cxn ang="0">
                  <a:pos x="1207" y="2180"/>
                </a:cxn>
                <a:cxn ang="0">
                  <a:pos x="1353" y="2166"/>
                </a:cxn>
                <a:cxn ang="0">
                  <a:pos x="1497" y="2141"/>
                </a:cxn>
                <a:cxn ang="0">
                  <a:pos x="1638" y="2105"/>
                </a:cxn>
                <a:cxn ang="0">
                  <a:pos x="1494" y="1807"/>
                </a:cxn>
                <a:cxn ang="0">
                  <a:pos x="1367" y="1830"/>
                </a:cxn>
                <a:cxn ang="0">
                  <a:pos x="1267" y="1838"/>
                </a:cxn>
                <a:cxn ang="0">
                  <a:pos x="1113" y="1827"/>
                </a:cxn>
                <a:cxn ang="0">
                  <a:pos x="955" y="1781"/>
                </a:cxn>
                <a:cxn ang="0">
                  <a:pos x="815" y="1704"/>
                </a:cxn>
                <a:cxn ang="0">
                  <a:pos x="696" y="1599"/>
                </a:cxn>
                <a:cxn ang="0">
                  <a:pos x="597" y="1473"/>
                </a:cxn>
                <a:cxn ang="0">
                  <a:pos x="523" y="1328"/>
                </a:cxn>
                <a:cxn ang="0">
                  <a:pos x="475" y="1173"/>
                </a:cxn>
                <a:cxn ang="0">
                  <a:pos x="453" y="1009"/>
                </a:cxn>
              </a:cxnLst>
              <a:rect l="0" t="0" r="r" b="b"/>
              <a:pathLst>
                <a:path w="1694" h="2185">
                  <a:moveTo>
                    <a:pt x="1235" y="669"/>
                  </a:moveTo>
                  <a:lnTo>
                    <a:pt x="468" y="669"/>
                  </a:lnTo>
                  <a:lnTo>
                    <a:pt x="471" y="650"/>
                  </a:lnTo>
                  <a:lnTo>
                    <a:pt x="474" y="631"/>
                  </a:lnTo>
                  <a:lnTo>
                    <a:pt x="479" y="612"/>
                  </a:lnTo>
                  <a:lnTo>
                    <a:pt x="484" y="593"/>
                  </a:lnTo>
                  <a:lnTo>
                    <a:pt x="489" y="576"/>
                  </a:lnTo>
                  <a:lnTo>
                    <a:pt x="496" y="558"/>
                  </a:lnTo>
                  <a:lnTo>
                    <a:pt x="503" y="541"/>
                  </a:lnTo>
                  <a:lnTo>
                    <a:pt x="511" y="524"/>
                  </a:lnTo>
                  <a:lnTo>
                    <a:pt x="519" y="507"/>
                  </a:lnTo>
                  <a:lnTo>
                    <a:pt x="528" y="492"/>
                  </a:lnTo>
                  <a:lnTo>
                    <a:pt x="538" y="476"/>
                  </a:lnTo>
                  <a:lnTo>
                    <a:pt x="548" y="462"/>
                  </a:lnTo>
                  <a:lnTo>
                    <a:pt x="559" y="448"/>
                  </a:lnTo>
                  <a:lnTo>
                    <a:pt x="571" y="434"/>
                  </a:lnTo>
                  <a:lnTo>
                    <a:pt x="583" y="421"/>
                  </a:lnTo>
                  <a:lnTo>
                    <a:pt x="596" y="409"/>
                  </a:lnTo>
                  <a:lnTo>
                    <a:pt x="610" y="397"/>
                  </a:lnTo>
                  <a:lnTo>
                    <a:pt x="624" y="386"/>
                  </a:lnTo>
                  <a:lnTo>
                    <a:pt x="638" y="376"/>
                  </a:lnTo>
                  <a:lnTo>
                    <a:pt x="653" y="366"/>
                  </a:lnTo>
                  <a:lnTo>
                    <a:pt x="668" y="357"/>
                  </a:lnTo>
                  <a:lnTo>
                    <a:pt x="684" y="348"/>
                  </a:lnTo>
                  <a:lnTo>
                    <a:pt x="700" y="341"/>
                  </a:lnTo>
                  <a:lnTo>
                    <a:pt x="717" y="333"/>
                  </a:lnTo>
                  <a:lnTo>
                    <a:pt x="734" y="327"/>
                  </a:lnTo>
                  <a:lnTo>
                    <a:pt x="751" y="322"/>
                  </a:lnTo>
                  <a:lnTo>
                    <a:pt x="769" y="317"/>
                  </a:lnTo>
                  <a:lnTo>
                    <a:pt x="787" y="313"/>
                  </a:lnTo>
                  <a:lnTo>
                    <a:pt x="806" y="310"/>
                  </a:lnTo>
                  <a:lnTo>
                    <a:pt x="824" y="308"/>
                  </a:lnTo>
                  <a:lnTo>
                    <a:pt x="844" y="307"/>
                  </a:lnTo>
                  <a:lnTo>
                    <a:pt x="863" y="306"/>
                  </a:lnTo>
                  <a:lnTo>
                    <a:pt x="885" y="307"/>
                  </a:lnTo>
                  <a:lnTo>
                    <a:pt x="905" y="308"/>
                  </a:lnTo>
                  <a:lnTo>
                    <a:pt x="925" y="310"/>
                  </a:lnTo>
                  <a:lnTo>
                    <a:pt x="945" y="313"/>
                  </a:lnTo>
                  <a:lnTo>
                    <a:pt x="963" y="316"/>
                  </a:lnTo>
                  <a:lnTo>
                    <a:pt x="982" y="320"/>
                  </a:lnTo>
                  <a:lnTo>
                    <a:pt x="999" y="326"/>
                  </a:lnTo>
                  <a:lnTo>
                    <a:pt x="1017" y="331"/>
                  </a:lnTo>
                  <a:lnTo>
                    <a:pt x="1033" y="338"/>
                  </a:lnTo>
                  <a:lnTo>
                    <a:pt x="1049" y="345"/>
                  </a:lnTo>
                  <a:lnTo>
                    <a:pt x="1065" y="353"/>
                  </a:lnTo>
                  <a:lnTo>
                    <a:pt x="1080" y="361"/>
                  </a:lnTo>
                  <a:lnTo>
                    <a:pt x="1094" y="371"/>
                  </a:lnTo>
                  <a:lnTo>
                    <a:pt x="1108" y="381"/>
                  </a:lnTo>
                  <a:lnTo>
                    <a:pt x="1121" y="391"/>
                  </a:lnTo>
                  <a:lnTo>
                    <a:pt x="1133" y="403"/>
                  </a:lnTo>
                  <a:lnTo>
                    <a:pt x="1145" y="415"/>
                  </a:lnTo>
                  <a:lnTo>
                    <a:pt x="1157" y="427"/>
                  </a:lnTo>
                  <a:lnTo>
                    <a:pt x="1167" y="441"/>
                  </a:lnTo>
                  <a:lnTo>
                    <a:pt x="1177" y="455"/>
                  </a:lnTo>
                  <a:lnTo>
                    <a:pt x="1186" y="469"/>
                  </a:lnTo>
                  <a:lnTo>
                    <a:pt x="1194" y="484"/>
                  </a:lnTo>
                  <a:lnTo>
                    <a:pt x="1202" y="500"/>
                  </a:lnTo>
                  <a:lnTo>
                    <a:pt x="1209" y="517"/>
                  </a:lnTo>
                  <a:lnTo>
                    <a:pt x="1215" y="535"/>
                  </a:lnTo>
                  <a:lnTo>
                    <a:pt x="1220" y="552"/>
                  </a:lnTo>
                  <a:lnTo>
                    <a:pt x="1224" y="570"/>
                  </a:lnTo>
                  <a:lnTo>
                    <a:pt x="1228" y="589"/>
                  </a:lnTo>
                  <a:lnTo>
                    <a:pt x="1231" y="608"/>
                  </a:lnTo>
                  <a:lnTo>
                    <a:pt x="1233" y="628"/>
                  </a:lnTo>
                  <a:lnTo>
                    <a:pt x="1234" y="648"/>
                  </a:lnTo>
                  <a:lnTo>
                    <a:pt x="1235" y="669"/>
                  </a:lnTo>
                  <a:close/>
                  <a:moveTo>
                    <a:pt x="1694" y="967"/>
                  </a:moveTo>
                  <a:lnTo>
                    <a:pt x="1694" y="847"/>
                  </a:lnTo>
                  <a:lnTo>
                    <a:pt x="1693" y="800"/>
                  </a:lnTo>
                  <a:lnTo>
                    <a:pt x="1691" y="753"/>
                  </a:lnTo>
                  <a:lnTo>
                    <a:pt x="1687" y="708"/>
                  </a:lnTo>
                  <a:lnTo>
                    <a:pt x="1681" y="664"/>
                  </a:lnTo>
                  <a:lnTo>
                    <a:pt x="1674" y="622"/>
                  </a:lnTo>
                  <a:lnTo>
                    <a:pt x="1666" y="580"/>
                  </a:lnTo>
                  <a:lnTo>
                    <a:pt x="1656" y="540"/>
                  </a:lnTo>
                  <a:lnTo>
                    <a:pt x="1644" y="499"/>
                  </a:lnTo>
                  <a:lnTo>
                    <a:pt x="1631" y="461"/>
                  </a:lnTo>
                  <a:lnTo>
                    <a:pt x="1616" y="425"/>
                  </a:lnTo>
                  <a:lnTo>
                    <a:pt x="1600" y="389"/>
                  </a:lnTo>
                  <a:lnTo>
                    <a:pt x="1582" y="355"/>
                  </a:lnTo>
                  <a:lnTo>
                    <a:pt x="1562" y="323"/>
                  </a:lnTo>
                  <a:lnTo>
                    <a:pt x="1541" y="291"/>
                  </a:lnTo>
                  <a:lnTo>
                    <a:pt x="1519" y="262"/>
                  </a:lnTo>
                  <a:lnTo>
                    <a:pt x="1495" y="232"/>
                  </a:lnTo>
                  <a:lnTo>
                    <a:pt x="1469" y="205"/>
                  </a:lnTo>
                  <a:lnTo>
                    <a:pt x="1442" y="180"/>
                  </a:lnTo>
                  <a:lnTo>
                    <a:pt x="1412" y="156"/>
                  </a:lnTo>
                  <a:lnTo>
                    <a:pt x="1382" y="133"/>
                  </a:lnTo>
                  <a:lnTo>
                    <a:pt x="1350" y="113"/>
                  </a:lnTo>
                  <a:lnTo>
                    <a:pt x="1317" y="94"/>
                  </a:lnTo>
                  <a:lnTo>
                    <a:pt x="1282" y="76"/>
                  </a:lnTo>
                  <a:lnTo>
                    <a:pt x="1245" y="61"/>
                  </a:lnTo>
                  <a:lnTo>
                    <a:pt x="1207" y="47"/>
                  </a:lnTo>
                  <a:lnTo>
                    <a:pt x="1168" y="34"/>
                  </a:lnTo>
                  <a:lnTo>
                    <a:pt x="1125" y="24"/>
                  </a:lnTo>
                  <a:lnTo>
                    <a:pt x="1083" y="15"/>
                  </a:lnTo>
                  <a:lnTo>
                    <a:pt x="1038" y="9"/>
                  </a:lnTo>
                  <a:lnTo>
                    <a:pt x="993" y="4"/>
                  </a:lnTo>
                  <a:lnTo>
                    <a:pt x="945" y="1"/>
                  </a:lnTo>
                  <a:lnTo>
                    <a:pt x="896" y="0"/>
                  </a:lnTo>
                  <a:lnTo>
                    <a:pt x="838" y="1"/>
                  </a:lnTo>
                  <a:lnTo>
                    <a:pt x="783" y="4"/>
                  </a:lnTo>
                  <a:lnTo>
                    <a:pt x="730" y="10"/>
                  </a:lnTo>
                  <a:lnTo>
                    <a:pt x="679" y="18"/>
                  </a:lnTo>
                  <a:lnTo>
                    <a:pt x="630" y="28"/>
                  </a:lnTo>
                  <a:lnTo>
                    <a:pt x="582" y="39"/>
                  </a:lnTo>
                  <a:lnTo>
                    <a:pt x="537" y="54"/>
                  </a:lnTo>
                  <a:lnTo>
                    <a:pt x="494" y="70"/>
                  </a:lnTo>
                  <a:lnTo>
                    <a:pt x="453" y="88"/>
                  </a:lnTo>
                  <a:lnTo>
                    <a:pt x="413" y="108"/>
                  </a:lnTo>
                  <a:lnTo>
                    <a:pt x="376" y="130"/>
                  </a:lnTo>
                  <a:lnTo>
                    <a:pt x="340" y="153"/>
                  </a:lnTo>
                  <a:lnTo>
                    <a:pt x="305" y="179"/>
                  </a:lnTo>
                  <a:lnTo>
                    <a:pt x="273" y="207"/>
                  </a:lnTo>
                  <a:lnTo>
                    <a:pt x="243" y="236"/>
                  </a:lnTo>
                  <a:lnTo>
                    <a:pt x="215" y="268"/>
                  </a:lnTo>
                  <a:lnTo>
                    <a:pt x="189" y="301"/>
                  </a:lnTo>
                  <a:lnTo>
                    <a:pt x="164" y="336"/>
                  </a:lnTo>
                  <a:lnTo>
                    <a:pt x="141" y="372"/>
                  </a:lnTo>
                  <a:lnTo>
                    <a:pt x="120" y="410"/>
                  </a:lnTo>
                  <a:lnTo>
                    <a:pt x="101" y="449"/>
                  </a:lnTo>
                  <a:lnTo>
                    <a:pt x="83" y="491"/>
                  </a:lnTo>
                  <a:lnTo>
                    <a:pt x="68" y="534"/>
                  </a:lnTo>
                  <a:lnTo>
                    <a:pt x="54" y="578"/>
                  </a:lnTo>
                  <a:lnTo>
                    <a:pt x="40" y="624"/>
                  </a:lnTo>
                  <a:lnTo>
                    <a:pt x="29" y="671"/>
                  </a:lnTo>
                  <a:lnTo>
                    <a:pt x="20" y="720"/>
                  </a:lnTo>
                  <a:lnTo>
                    <a:pt x="13" y="770"/>
                  </a:lnTo>
                  <a:lnTo>
                    <a:pt x="7" y="822"/>
                  </a:lnTo>
                  <a:lnTo>
                    <a:pt x="3" y="874"/>
                  </a:lnTo>
                  <a:lnTo>
                    <a:pt x="1" y="928"/>
                  </a:lnTo>
                  <a:lnTo>
                    <a:pt x="0" y="983"/>
                  </a:lnTo>
                  <a:lnTo>
                    <a:pt x="1" y="1047"/>
                  </a:lnTo>
                  <a:lnTo>
                    <a:pt x="4" y="1110"/>
                  </a:lnTo>
                  <a:lnTo>
                    <a:pt x="9" y="1172"/>
                  </a:lnTo>
                  <a:lnTo>
                    <a:pt x="15" y="1232"/>
                  </a:lnTo>
                  <a:lnTo>
                    <a:pt x="24" y="1291"/>
                  </a:lnTo>
                  <a:lnTo>
                    <a:pt x="34" y="1349"/>
                  </a:lnTo>
                  <a:lnTo>
                    <a:pt x="46" y="1406"/>
                  </a:lnTo>
                  <a:lnTo>
                    <a:pt x="62" y="1461"/>
                  </a:lnTo>
                  <a:lnTo>
                    <a:pt x="78" y="1514"/>
                  </a:lnTo>
                  <a:lnTo>
                    <a:pt x="96" y="1566"/>
                  </a:lnTo>
                  <a:lnTo>
                    <a:pt x="117" y="1616"/>
                  </a:lnTo>
                  <a:lnTo>
                    <a:pt x="139" y="1666"/>
                  </a:lnTo>
                  <a:lnTo>
                    <a:pt x="164" y="1712"/>
                  </a:lnTo>
                  <a:lnTo>
                    <a:pt x="191" y="1757"/>
                  </a:lnTo>
                  <a:lnTo>
                    <a:pt x="219" y="1800"/>
                  </a:lnTo>
                  <a:lnTo>
                    <a:pt x="250" y="1841"/>
                  </a:lnTo>
                  <a:lnTo>
                    <a:pt x="283" y="1881"/>
                  </a:lnTo>
                  <a:lnTo>
                    <a:pt x="319" y="1919"/>
                  </a:lnTo>
                  <a:lnTo>
                    <a:pt x="357" y="1953"/>
                  </a:lnTo>
                  <a:lnTo>
                    <a:pt x="397" y="1986"/>
                  </a:lnTo>
                  <a:lnTo>
                    <a:pt x="439" y="2017"/>
                  </a:lnTo>
                  <a:lnTo>
                    <a:pt x="483" y="2045"/>
                  </a:lnTo>
                  <a:lnTo>
                    <a:pt x="530" y="2071"/>
                  </a:lnTo>
                  <a:lnTo>
                    <a:pt x="579" y="2094"/>
                  </a:lnTo>
                  <a:lnTo>
                    <a:pt x="631" y="2115"/>
                  </a:lnTo>
                  <a:lnTo>
                    <a:pt x="684" y="2133"/>
                  </a:lnTo>
                  <a:lnTo>
                    <a:pt x="740" y="2149"/>
                  </a:lnTo>
                  <a:lnTo>
                    <a:pt x="798" y="2161"/>
                  </a:lnTo>
                  <a:lnTo>
                    <a:pt x="859" y="2172"/>
                  </a:lnTo>
                  <a:lnTo>
                    <a:pt x="923" y="2179"/>
                  </a:lnTo>
                  <a:lnTo>
                    <a:pt x="989" y="2183"/>
                  </a:lnTo>
                  <a:lnTo>
                    <a:pt x="1057" y="2185"/>
                  </a:lnTo>
                  <a:lnTo>
                    <a:pt x="1095" y="2185"/>
                  </a:lnTo>
                  <a:lnTo>
                    <a:pt x="1132" y="2184"/>
                  </a:lnTo>
                  <a:lnTo>
                    <a:pt x="1170" y="2182"/>
                  </a:lnTo>
                  <a:lnTo>
                    <a:pt x="1207" y="2180"/>
                  </a:lnTo>
                  <a:lnTo>
                    <a:pt x="1244" y="2178"/>
                  </a:lnTo>
                  <a:lnTo>
                    <a:pt x="1281" y="2174"/>
                  </a:lnTo>
                  <a:lnTo>
                    <a:pt x="1317" y="2170"/>
                  </a:lnTo>
                  <a:lnTo>
                    <a:pt x="1353" y="2166"/>
                  </a:lnTo>
                  <a:lnTo>
                    <a:pt x="1389" y="2161"/>
                  </a:lnTo>
                  <a:lnTo>
                    <a:pt x="1425" y="2155"/>
                  </a:lnTo>
                  <a:lnTo>
                    <a:pt x="1462" y="2148"/>
                  </a:lnTo>
                  <a:lnTo>
                    <a:pt x="1497" y="2141"/>
                  </a:lnTo>
                  <a:lnTo>
                    <a:pt x="1533" y="2133"/>
                  </a:lnTo>
                  <a:lnTo>
                    <a:pt x="1568" y="2124"/>
                  </a:lnTo>
                  <a:lnTo>
                    <a:pt x="1603" y="2115"/>
                  </a:lnTo>
                  <a:lnTo>
                    <a:pt x="1638" y="2105"/>
                  </a:lnTo>
                  <a:lnTo>
                    <a:pt x="1638" y="1766"/>
                  </a:lnTo>
                  <a:lnTo>
                    <a:pt x="1591" y="1781"/>
                  </a:lnTo>
                  <a:lnTo>
                    <a:pt x="1543" y="1794"/>
                  </a:lnTo>
                  <a:lnTo>
                    <a:pt x="1494" y="1807"/>
                  </a:lnTo>
                  <a:lnTo>
                    <a:pt x="1444" y="1817"/>
                  </a:lnTo>
                  <a:lnTo>
                    <a:pt x="1417" y="1822"/>
                  </a:lnTo>
                  <a:lnTo>
                    <a:pt x="1392" y="1826"/>
                  </a:lnTo>
                  <a:lnTo>
                    <a:pt x="1367" y="1830"/>
                  </a:lnTo>
                  <a:lnTo>
                    <a:pt x="1342" y="1833"/>
                  </a:lnTo>
                  <a:lnTo>
                    <a:pt x="1316" y="1835"/>
                  </a:lnTo>
                  <a:lnTo>
                    <a:pt x="1292" y="1837"/>
                  </a:lnTo>
                  <a:lnTo>
                    <a:pt x="1267" y="1838"/>
                  </a:lnTo>
                  <a:lnTo>
                    <a:pt x="1243" y="1838"/>
                  </a:lnTo>
                  <a:lnTo>
                    <a:pt x="1199" y="1837"/>
                  </a:lnTo>
                  <a:lnTo>
                    <a:pt x="1156" y="1833"/>
                  </a:lnTo>
                  <a:lnTo>
                    <a:pt x="1113" y="1827"/>
                  </a:lnTo>
                  <a:lnTo>
                    <a:pt x="1072" y="1819"/>
                  </a:lnTo>
                  <a:lnTo>
                    <a:pt x="1032" y="1809"/>
                  </a:lnTo>
                  <a:lnTo>
                    <a:pt x="993" y="1796"/>
                  </a:lnTo>
                  <a:lnTo>
                    <a:pt x="955" y="1781"/>
                  </a:lnTo>
                  <a:lnTo>
                    <a:pt x="919" y="1765"/>
                  </a:lnTo>
                  <a:lnTo>
                    <a:pt x="883" y="1746"/>
                  </a:lnTo>
                  <a:lnTo>
                    <a:pt x="848" y="1726"/>
                  </a:lnTo>
                  <a:lnTo>
                    <a:pt x="815" y="1704"/>
                  </a:lnTo>
                  <a:lnTo>
                    <a:pt x="783" y="1680"/>
                  </a:lnTo>
                  <a:lnTo>
                    <a:pt x="753" y="1655"/>
                  </a:lnTo>
                  <a:lnTo>
                    <a:pt x="724" y="1627"/>
                  </a:lnTo>
                  <a:lnTo>
                    <a:pt x="696" y="1599"/>
                  </a:lnTo>
                  <a:lnTo>
                    <a:pt x="669" y="1569"/>
                  </a:lnTo>
                  <a:lnTo>
                    <a:pt x="644" y="1538"/>
                  </a:lnTo>
                  <a:lnTo>
                    <a:pt x="620" y="1506"/>
                  </a:lnTo>
                  <a:lnTo>
                    <a:pt x="597" y="1473"/>
                  </a:lnTo>
                  <a:lnTo>
                    <a:pt x="576" y="1438"/>
                  </a:lnTo>
                  <a:lnTo>
                    <a:pt x="557" y="1403"/>
                  </a:lnTo>
                  <a:lnTo>
                    <a:pt x="539" y="1367"/>
                  </a:lnTo>
                  <a:lnTo>
                    <a:pt x="523" y="1328"/>
                  </a:lnTo>
                  <a:lnTo>
                    <a:pt x="509" y="1290"/>
                  </a:lnTo>
                  <a:lnTo>
                    <a:pt x="496" y="1252"/>
                  </a:lnTo>
                  <a:lnTo>
                    <a:pt x="484" y="1213"/>
                  </a:lnTo>
                  <a:lnTo>
                    <a:pt x="475" y="1173"/>
                  </a:lnTo>
                  <a:lnTo>
                    <a:pt x="467" y="1133"/>
                  </a:lnTo>
                  <a:lnTo>
                    <a:pt x="460" y="1092"/>
                  </a:lnTo>
                  <a:lnTo>
                    <a:pt x="456" y="1050"/>
                  </a:lnTo>
                  <a:lnTo>
                    <a:pt x="453" y="1009"/>
                  </a:lnTo>
                  <a:lnTo>
                    <a:pt x="452" y="967"/>
                  </a:lnTo>
                  <a:lnTo>
                    <a:pt x="1694" y="96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  <a:cs typeface="+mn-cs"/>
              </a:endParaRPr>
            </a:p>
          </p:txBody>
        </p:sp>
        <p:sp>
          <p:nvSpPr>
            <p:cNvPr id="11" name="Freeform 8"/>
            <p:cNvSpPr>
              <a:spLocks/>
            </p:cNvSpPr>
            <p:nvPr/>
          </p:nvSpPr>
          <p:spPr bwMode="gray">
            <a:xfrm>
              <a:off x="2159000" y="2708275"/>
              <a:ext cx="363538" cy="463550"/>
            </a:xfrm>
            <a:custGeom>
              <a:avLst/>
              <a:gdLst/>
              <a:ahLst/>
              <a:cxnLst>
                <a:cxn ang="0">
                  <a:pos x="1194" y="897"/>
                </a:cxn>
                <a:cxn ang="0">
                  <a:pos x="1193" y="775"/>
                </a:cxn>
                <a:cxn ang="0">
                  <a:pos x="1185" y="675"/>
                </a:cxn>
                <a:cxn ang="0">
                  <a:pos x="1167" y="582"/>
                </a:cxn>
                <a:cxn ang="0">
                  <a:pos x="1153" y="542"/>
                </a:cxn>
                <a:cxn ang="0">
                  <a:pos x="1135" y="508"/>
                </a:cxn>
                <a:cxn ang="0">
                  <a:pos x="1115" y="485"/>
                </a:cxn>
                <a:cxn ang="0">
                  <a:pos x="1093" y="471"/>
                </a:cxn>
                <a:cxn ang="0">
                  <a:pos x="1040" y="455"/>
                </a:cxn>
                <a:cxn ang="0">
                  <a:pos x="984" y="451"/>
                </a:cxn>
                <a:cxn ang="0">
                  <a:pos x="891" y="464"/>
                </a:cxn>
                <a:cxn ang="0">
                  <a:pos x="807" y="499"/>
                </a:cxn>
                <a:cxn ang="0">
                  <a:pos x="735" y="554"/>
                </a:cxn>
                <a:cxn ang="0">
                  <a:pos x="673" y="625"/>
                </a:cxn>
                <a:cxn ang="0">
                  <a:pos x="621" y="707"/>
                </a:cxn>
                <a:cxn ang="0">
                  <a:pos x="577" y="799"/>
                </a:cxn>
                <a:cxn ang="0">
                  <a:pos x="544" y="895"/>
                </a:cxn>
                <a:cxn ang="0">
                  <a:pos x="519" y="992"/>
                </a:cxn>
                <a:cxn ang="0">
                  <a:pos x="502" y="1089"/>
                </a:cxn>
                <a:cxn ang="0">
                  <a:pos x="494" y="1178"/>
                </a:cxn>
                <a:cxn ang="0">
                  <a:pos x="492" y="2137"/>
                </a:cxn>
                <a:cxn ang="0">
                  <a:pos x="492" y="48"/>
                </a:cxn>
                <a:cxn ang="0">
                  <a:pos x="510" y="410"/>
                </a:cxn>
                <a:cxn ang="0">
                  <a:pos x="544" y="340"/>
                </a:cxn>
                <a:cxn ang="0">
                  <a:pos x="584" y="276"/>
                </a:cxn>
                <a:cxn ang="0">
                  <a:pos x="629" y="216"/>
                </a:cxn>
                <a:cxn ang="0">
                  <a:pos x="679" y="163"/>
                </a:cxn>
                <a:cxn ang="0">
                  <a:pos x="734" y="117"/>
                </a:cxn>
                <a:cxn ang="0">
                  <a:pos x="794" y="79"/>
                </a:cxn>
                <a:cxn ang="0">
                  <a:pos x="860" y="47"/>
                </a:cxn>
                <a:cxn ang="0">
                  <a:pos x="931" y="23"/>
                </a:cxn>
                <a:cxn ang="0">
                  <a:pos x="1006" y="8"/>
                </a:cxn>
                <a:cxn ang="0">
                  <a:pos x="1085" y="0"/>
                </a:cxn>
                <a:cxn ang="0">
                  <a:pos x="1187" y="4"/>
                </a:cxn>
                <a:cxn ang="0">
                  <a:pos x="1285" y="23"/>
                </a:cxn>
                <a:cxn ang="0">
                  <a:pos x="1373" y="57"/>
                </a:cxn>
                <a:cxn ang="0">
                  <a:pos x="1449" y="104"/>
                </a:cxn>
                <a:cxn ang="0">
                  <a:pos x="1514" y="164"/>
                </a:cxn>
                <a:cxn ang="0">
                  <a:pos x="1568" y="233"/>
                </a:cxn>
                <a:cxn ang="0">
                  <a:pos x="1611" y="313"/>
                </a:cxn>
                <a:cxn ang="0">
                  <a:pos x="1644" y="398"/>
                </a:cxn>
                <a:cxn ang="0">
                  <a:pos x="1667" y="490"/>
                </a:cxn>
                <a:cxn ang="0">
                  <a:pos x="1681" y="587"/>
                </a:cxn>
                <a:cxn ang="0">
                  <a:pos x="1686" y="685"/>
                </a:cxn>
              </a:cxnLst>
              <a:rect l="0" t="0" r="r" b="b"/>
              <a:pathLst>
                <a:path w="1686" h="2137">
                  <a:moveTo>
                    <a:pt x="1194" y="2137"/>
                  </a:moveTo>
                  <a:lnTo>
                    <a:pt x="1194" y="943"/>
                  </a:lnTo>
                  <a:lnTo>
                    <a:pt x="1194" y="897"/>
                  </a:lnTo>
                  <a:lnTo>
                    <a:pt x="1194" y="840"/>
                  </a:lnTo>
                  <a:lnTo>
                    <a:pt x="1194" y="809"/>
                  </a:lnTo>
                  <a:lnTo>
                    <a:pt x="1193" y="775"/>
                  </a:lnTo>
                  <a:lnTo>
                    <a:pt x="1191" y="742"/>
                  </a:lnTo>
                  <a:lnTo>
                    <a:pt x="1188" y="708"/>
                  </a:lnTo>
                  <a:lnTo>
                    <a:pt x="1185" y="675"/>
                  </a:lnTo>
                  <a:lnTo>
                    <a:pt x="1180" y="642"/>
                  </a:lnTo>
                  <a:lnTo>
                    <a:pt x="1174" y="611"/>
                  </a:lnTo>
                  <a:lnTo>
                    <a:pt x="1167" y="582"/>
                  </a:lnTo>
                  <a:lnTo>
                    <a:pt x="1163" y="568"/>
                  </a:lnTo>
                  <a:lnTo>
                    <a:pt x="1158" y="555"/>
                  </a:lnTo>
                  <a:lnTo>
                    <a:pt x="1153" y="542"/>
                  </a:lnTo>
                  <a:lnTo>
                    <a:pt x="1147" y="530"/>
                  </a:lnTo>
                  <a:lnTo>
                    <a:pt x="1141" y="519"/>
                  </a:lnTo>
                  <a:lnTo>
                    <a:pt x="1135" y="508"/>
                  </a:lnTo>
                  <a:lnTo>
                    <a:pt x="1128" y="499"/>
                  </a:lnTo>
                  <a:lnTo>
                    <a:pt x="1121" y="491"/>
                  </a:lnTo>
                  <a:lnTo>
                    <a:pt x="1115" y="485"/>
                  </a:lnTo>
                  <a:lnTo>
                    <a:pt x="1108" y="480"/>
                  </a:lnTo>
                  <a:lnTo>
                    <a:pt x="1101" y="476"/>
                  </a:lnTo>
                  <a:lnTo>
                    <a:pt x="1093" y="471"/>
                  </a:lnTo>
                  <a:lnTo>
                    <a:pt x="1076" y="464"/>
                  </a:lnTo>
                  <a:lnTo>
                    <a:pt x="1059" y="459"/>
                  </a:lnTo>
                  <a:lnTo>
                    <a:pt x="1040" y="455"/>
                  </a:lnTo>
                  <a:lnTo>
                    <a:pt x="1022" y="453"/>
                  </a:lnTo>
                  <a:lnTo>
                    <a:pt x="1003" y="451"/>
                  </a:lnTo>
                  <a:lnTo>
                    <a:pt x="984" y="451"/>
                  </a:lnTo>
                  <a:lnTo>
                    <a:pt x="952" y="452"/>
                  </a:lnTo>
                  <a:lnTo>
                    <a:pt x="921" y="457"/>
                  </a:lnTo>
                  <a:lnTo>
                    <a:pt x="891" y="464"/>
                  </a:lnTo>
                  <a:lnTo>
                    <a:pt x="861" y="473"/>
                  </a:lnTo>
                  <a:lnTo>
                    <a:pt x="833" y="485"/>
                  </a:lnTo>
                  <a:lnTo>
                    <a:pt x="807" y="499"/>
                  </a:lnTo>
                  <a:lnTo>
                    <a:pt x="782" y="515"/>
                  </a:lnTo>
                  <a:lnTo>
                    <a:pt x="758" y="534"/>
                  </a:lnTo>
                  <a:lnTo>
                    <a:pt x="735" y="554"/>
                  </a:lnTo>
                  <a:lnTo>
                    <a:pt x="713" y="576"/>
                  </a:lnTo>
                  <a:lnTo>
                    <a:pt x="692" y="600"/>
                  </a:lnTo>
                  <a:lnTo>
                    <a:pt x="673" y="625"/>
                  </a:lnTo>
                  <a:lnTo>
                    <a:pt x="654" y="651"/>
                  </a:lnTo>
                  <a:lnTo>
                    <a:pt x="637" y="678"/>
                  </a:lnTo>
                  <a:lnTo>
                    <a:pt x="621" y="707"/>
                  </a:lnTo>
                  <a:lnTo>
                    <a:pt x="606" y="736"/>
                  </a:lnTo>
                  <a:lnTo>
                    <a:pt x="590" y="767"/>
                  </a:lnTo>
                  <a:lnTo>
                    <a:pt x="577" y="799"/>
                  </a:lnTo>
                  <a:lnTo>
                    <a:pt x="565" y="830"/>
                  </a:lnTo>
                  <a:lnTo>
                    <a:pt x="554" y="862"/>
                  </a:lnTo>
                  <a:lnTo>
                    <a:pt x="544" y="895"/>
                  </a:lnTo>
                  <a:lnTo>
                    <a:pt x="535" y="927"/>
                  </a:lnTo>
                  <a:lnTo>
                    <a:pt x="526" y="960"/>
                  </a:lnTo>
                  <a:lnTo>
                    <a:pt x="519" y="992"/>
                  </a:lnTo>
                  <a:lnTo>
                    <a:pt x="513" y="1024"/>
                  </a:lnTo>
                  <a:lnTo>
                    <a:pt x="507" y="1056"/>
                  </a:lnTo>
                  <a:lnTo>
                    <a:pt x="502" y="1089"/>
                  </a:lnTo>
                  <a:lnTo>
                    <a:pt x="499" y="1119"/>
                  </a:lnTo>
                  <a:lnTo>
                    <a:pt x="496" y="1149"/>
                  </a:lnTo>
                  <a:lnTo>
                    <a:pt x="494" y="1178"/>
                  </a:lnTo>
                  <a:lnTo>
                    <a:pt x="493" y="1207"/>
                  </a:lnTo>
                  <a:lnTo>
                    <a:pt x="492" y="1234"/>
                  </a:lnTo>
                  <a:lnTo>
                    <a:pt x="492" y="2137"/>
                  </a:lnTo>
                  <a:lnTo>
                    <a:pt x="0" y="2137"/>
                  </a:lnTo>
                  <a:lnTo>
                    <a:pt x="0" y="48"/>
                  </a:lnTo>
                  <a:lnTo>
                    <a:pt x="492" y="48"/>
                  </a:lnTo>
                  <a:lnTo>
                    <a:pt x="492" y="435"/>
                  </a:lnTo>
                  <a:lnTo>
                    <a:pt x="500" y="435"/>
                  </a:lnTo>
                  <a:lnTo>
                    <a:pt x="510" y="410"/>
                  </a:lnTo>
                  <a:lnTo>
                    <a:pt x="521" y="386"/>
                  </a:lnTo>
                  <a:lnTo>
                    <a:pt x="532" y="363"/>
                  </a:lnTo>
                  <a:lnTo>
                    <a:pt x="544" y="340"/>
                  </a:lnTo>
                  <a:lnTo>
                    <a:pt x="557" y="318"/>
                  </a:lnTo>
                  <a:lnTo>
                    <a:pt x="570" y="296"/>
                  </a:lnTo>
                  <a:lnTo>
                    <a:pt x="584" y="276"/>
                  </a:lnTo>
                  <a:lnTo>
                    <a:pt x="599" y="255"/>
                  </a:lnTo>
                  <a:lnTo>
                    <a:pt x="614" y="235"/>
                  </a:lnTo>
                  <a:lnTo>
                    <a:pt x="629" y="216"/>
                  </a:lnTo>
                  <a:lnTo>
                    <a:pt x="645" y="198"/>
                  </a:lnTo>
                  <a:lnTo>
                    <a:pt x="662" y="180"/>
                  </a:lnTo>
                  <a:lnTo>
                    <a:pt x="679" y="163"/>
                  </a:lnTo>
                  <a:lnTo>
                    <a:pt x="697" y="147"/>
                  </a:lnTo>
                  <a:lnTo>
                    <a:pt x="715" y="132"/>
                  </a:lnTo>
                  <a:lnTo>
                    <a:pt x="734" y="117"/>
                  </a:lnTo>
                  <a:lnTo>
                    <a:pt x="754" y="104"/>
                  </a:lnTo>
                  <a:lnTo>
                    <a:pt x="774" y="91"/>
                  </a:lnTo>
                  <a:lnTo>
                    <a:pt x="794" y="79"/>
                  </a:lnTo>
                  <a:lnTo>
                    <a:pt x="816" y="67"/>
                  </a:lnTo>
                  <a:lnTo>
                    <a:pt x="837" y="57"/>
                  </a:lnTo>
                  <a:lnTo>
                    <a:pt x="860" y="47"/>
                  </a:lnTo>
                  <a:lnTo>
                    <a:pt x="883" y="38"/>
                  </a:lnTo>
                  <a:lnTo>
                    <a:pt x="907" y="30"/>
                  </a:lnTo>
                  <a:lnTo>
                    <a:pt x="931" y="23"/>
                  </a:lnTo>
                  <a:lnTo>
                    <a:pt x="955" y="17"/>
                  </a:lnTo>
                  <a:lnTo>
                    <a:pt x="980" y="12"/>
                  </a:lnTo>
                  <a:lnTo>
                    <a:pt x="1006" y="8"/>
                  </a:lnTo>
                  <a:lnTo>
                    <a:pt x="1032" y="4"/>
                  </a:lnTo>
                  <a:lnTo>
                    <a:pt x="1058" y="2"/>
                  </a:lnTo>
                  <a:lnTo>
                    <a:pt x="1085" y="0"/>
                  </a:lnTo>
                  <a:lnTo>
                    <a:pt x="1113" y="0"/>
                  </a:lnTo>
                  <a:lnTo>
                    <a:pt x="1151" y="1"/>
                  </a:lnTo>
                  <a:lnTo>
                    <a:pt x="1187" y="4"/>
                  </a:lnTo>
                  <a:lnTo>
                    <a:pt x="1221" y="8"/>
                  </a:lnTo>
                  <a:lnTo>
                    <a:pt x="1254" y="15"/>
                  </a:lnTo>
                  <a:lnTo>
                    <a:pt x="1285" y="23"/>
                  </a:lnTo>
                  <a:lnTo>
                    <a:pt x="1316" y="33"/>
                  </a:lnTo>
                  <a:lnTo>
                    <a:pt x="1345" y="44"/>
                  </a:lnTo>
                  <a:lnTo>
                    <a:pt x="1373" y="57"/>
                  </a:lnTo>
                  <a:lnTo>
                    <a:pt x="1399" y="71"/>
                  </a:lnTo>
                  <a:lnTo>
                    <a:pt x="1424" y="87"/>
                  </a:lnTo>
                  <a:lnTo>
                    <a:pt x="1449" y="104"/>
                  </a:lnTo>
                  <a:lnTo>
                    <a:pt x="1472" y="123"/>
                  </a:lnTo>
                  <a:lnTo>
                    <a:pt x="1493" y="143"/>
                  </a:lnTo>
                  <a:lnTo>
                    <a:pt x="1514" y="164"/>
                  </a:lnTo>
                  <a:lnTo>
                    <a:pt x="1533" y="186"/>
                  </a:lnTo>
                  <a:lnTo>
                    <a:pt x="1551" y="209"/>
                  </a:lnTo>
                  <a:lnTo>
                    <a:pt x="1568" y="233"/>
                  </a:lnTo>
                  <a:lnTo>
                    <a:pt x="1583" y="259"/>
                  </a:lnTo>
                  <a:lnTo>
                    <a:pt x="1598" y="286"/>
                  </a:lnTo>
                  <a:lnTo>
                    <a:pt x="1611" y="313"/>
                  </a:lnTo>
                  <a:lnTo>
                    <a:pt x="1623" y="340"/>
                  </a:lnTo>
                  <a:lnTo>
                    <a:pt x="1634" y="369"/>
                  </a:lnTo>
                  <a:lnTo>
                    <a:pt x="1644" y="398"/>
                  </a:lnTo>
                  <a:lnTo>
                    <a:pt x="1653" y="428"/>
                  </a:lnTo>
                  <a:lnTo>
                    <a:pt x="1661" y="459"/>
                  </a:lnTo>
                  <a:lnTo>
                    <a:pt x="1667" y="490"/>
                  </a:lnTo>
                  <a:lnTo>
                    <a:pt x="1673" y="522"/>
                  </a:lnTo>
                  <a:lnTo>
                    <a:pt x="1677" y="554"/>
                  </a:lnTo>
                  <a:lnTo>
                    <a:pt x="1681" y="587"/>
                  </a:lnTo>
                  <a:lnTo>
                    <a:pt x="1683" y="619"/>
                  </a:lnTo>
                  <a:lnTo>
                    <a:pt x="1685" y="652"/>
                  </a:lnTo>
                  <a:lnTo>
                    <a:pt x="1686" y="685"/>
                  </a:lnTo>
                  <a:lnTo>
                    <a:pt x="1686" y="2137"/>
                  </a:lnTo>
                  <a:lnTo>
                    <a:pt x="1194" y="213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  <a:cs typeface="+mn-cs"/>
              </a:endParaRPr>
            </a:p>
          </p:txBody>
        </p:sp>
        <p:sp>
          <p:nvSpPr>
            <p:cNvPr id="12" name="Freeform 9"/>
            <p:cNvSpPr>
              <a:spLocks/>
            </p:cNvSpPr>
            <p:nvPr/>
          </p:nvSpPr>
          <p:spPr bwMode="gray">
            <a:xfrm>
              <a:off x="2546350" y="2568575"/>
              <a:ext cx="330200" cy="612775"/>
            </a:xfrm>
            <a:custGeom>
              <a:avLst/>
              <a:gdLst/>
              <a:ahLst/>
              <a:cxnLst>
                <a:cxn ang="0">
                  <a:pos x="895" y="2017"/>
                </a:cxn>
                <a:cxn ang="0">
                  <a:pos x="897" y="2109"/>
                </a:cxn>
                <a:cxn ang="0">
                  <a:pos x="905" y="2195"/>
                </a:cxn>
                <a:cxn ang="0">
                  <a:pos x="911" y="2236"/>
                </a:cxn>
                <a:cxn ang="0">
                  <a:pos x="921" y="2274"/>
                </a:cxn>
                <a:cxn ang="0">
                  <a:pos x="933" y="2311"/>
                </a:cxn>
                <a:cxn ang="0">
                  <a:pos x="948" y="2345"/>
                </a:cxn>
                <a:cxn ang="0">
                  <a:pos x="967" y="2375"/>
                </a:cxn>
                <a:cxn ang="0">
                  <a:pos x="990" y="2403"/>
                </a:cxn>
                <a:cxn ang="0">
                  <a:pos x="1017" y="2426"/>
                </a:cxn>
                <a:cxn ang="0">
                  <a:pos x="1049" y="2447"/>
                </a:cxn>
                <a:cxn ang="0">
                  <a:pos x="1085" y="2463"/>
                </a:cxn>
                <a:cxn ang="0">
                  <a:pos x="1126" y="2475"/>
                </a:cxn>
                <a:cxn ang="0">
                  <a:pos x="1173" y="2482"/>
                </a:cxn>
                <a:cxn ang="0">
                  <a:pos x="1226" y="2484"/>
                </a:cxn>
                <a:cxn ang="0">
                  <a:pos x="1284" y="2482"/>
                </a:cxn>
                <a:cxn ang="0">
                  <a:pos x="1342" y="2474"/>
                </a:cxn>
                <a:cxn ang="0">
                  <a:pos x="1397" y="2464"/>
                </a:cxn>
                <a:cxn ang="0">
                  <a:pos x="1452" y="2452"/>
                </a:cxn>
                <a:cxn ang="0">
                  <a:pos x="1403" y="2805"/>
                </a:cxn>
                <a:cxn ang="0">
                  <a:pos x="1304" y="2816"/>
                </a:cxn>
                <a:cxn ang="0">
                  <a:pos x="1204" y="2825"/>
                </a:cxn>
                <a:cxn ang="0">
                  <a:pos x="1105" y="2830"/>
                </a:cxn>
                <a:cxn ang="0">
                  <a:pos x="1017" y="2830"/>
                </a:cxn>
                <a:cxn ang="0">
                  <a:pos x="941" y="2827"/>
                </a:cxn>
                <a:cxn ang="0">
                  <a:pos x="871" y="2820"/>
                </a:cxn>
                <a:cxn ang="0">
                  <a:pos x="806" y="2809"/>
                </a:cxn>
                <a:cxn ang="0">
                  <a:pos x="746" y="2794"/>
                </a:cxn>
                <a:cxn ang="0">
                  <a:pos x="690" y="2774"/>
                </a:cxn>
                <a:cxn ang="0">
                  <a:pos x="640" y="2750"/>
                </a:cxn>
                <a:cxn ang="0">
                  <a:pos x="594" y="2722"/>
                </a:cxn>
                <a:cxn ang="0">
                  <a:pos x="554" y="2688"/>
                </a:cxn>
                <a:cxn ang="0">
                  <a:pos x="519" y="2649"/>
                </a:cxn>
                <a:cxn ang="0">
                  <a:pos x="488" y="2605"/>
                </a:cxn>
                <a:cxn ang="0">
                  <a:pos x="463" y="2555"/>
                </a:cxn>
                <a:cxn ang="0">
                  <a:pos x="442" y="2500"/>
                </a:cxn>
                <a:cxn ang="0">
                  <a:pos x="427" y="2439"/>
                </a:cxn>
                <a:cxn ang="0">
                  <a:pos x="417" y="2372"/>
                </a:cxn>
                <a:cxn ang="0">
                  <a:pos x="411" y="2298"/>
                </a:cxn>
                <a:cxn ang="0">
                  <a:pos x="411" y="1033"/>
                </a:cxn>
                <a:cxn ang="0">
                  <a:pos x="0" y="694"/>
                </a:cxn>
                <a:cxn ang="0">
                  <a:pos x="411" y="194"/>
                </a:cxn>
                <a:cxn ang="0">
                  <a:pos x="895" y="694"/>
                </a:cxn>
                <a:cxn ang="0">
                  <a:pos x="1516" y="1033"/>
                </a:cxn>
              </a:cxnLst>
              <a:rect l="0" t="0" r="r" b="b"/>
              <a:pathLst>
                <a:path w="1516" h="2831">
                  <a:moveTo>
                    <a:pt x="895" y="1033"/>
                  </a:moveTo>
                  <a:lnTo>
                    <a:pt x="895" y="2017"/>
                  </a:lnTo>
                  <a:lnTo>
                    <a:pt x="895" y="2064"/>
                  </a:lnTo>
                  <a:lnTo>
                    <a:pt x="897" y="2109"/>
                  </a:lnTo>
                  <a:lnTo>
                    <a:pt x="900" y="2153"/>
                  </a:lnTo>
                  <a:lnTo>
                    <a:pt x="905" y="2195"/>
                  </a:lnTo>
                  <a:lnTo>
                    <a:pt x="908" y="2216"/>
                  </a:lnTo>
                  <a:lnTo>
                    <a:pt x="911" y="2236"/>
                  </a:lnTo>
                  <a:lnTo>
                    <a:pt x="916" y="2255"/>
                  </a:lnTo>
                  <a:lnTo>
                    <a:pt x="921" y="2274"/>
                  </a:lnTo>
                  <a:lnTo>
                    <a:pt x="927" y="2294"/>
                  </a:lnTo>
                  <a:lnTo>
                    <a:pt x="933" y="2311"/>
                  </a:lnTo>
                  <a:lnTo>
                    <a:pt x="940" y="2328"/>
                  </a:lnTo>
                  <a:lnTo>
                    <a:pt x="948" y="2345"/>
                  </a:lnTo>
                  <a:lnTo>
                    <a:pt x="957" y="2360"/>
                  </a:lnTo>
                  <a:lnTo>
                    <a:pt x="967" y="2375"/>
                  </a:lnTo>
                  <a:lnTo>
                    <a:pt x="978" y="2389"/>
                  </a:lnTo>
                  <a:lnTo>
                    <a:pt x="990" y="2403"/>
                  </a:lnTo>
                  <a:lnTo>
                    <a:pt x="1002" y="2415"/>
                  </a:lnTo>
                  <a:lnTo>
                    <a:pt x="1017" y="2426"/>
                  </a:lnTo>
                  <a:lnTo>
                    <a:pt x="1032" y="2437"/>
                  </a:lnTo>
                  <a:lnTo>
                    <a:pt x="1049" y="2447"/>
                  </a:lnTo>
                  <a:lnTo>
                    <a:pt x="1066" y="2455"/>
                  </a:lnTo>
                  <a:lnTo>
                    <a:pt x="1085" y="2463"/>
                  </a:lnTo>
                  <a:lnTo>
                    <a:pt x="1105" y="2469"/>
                  </a:lnTo>
                  <a:lnTo>
                    <a:pt x="1126" y="2475"/>
                  </a:lnTo>
                  <a:lnTo>
                    <a:pt x="1149" y="2479"/>
                  </a:lnTo>
                  <a:lnTo>
                    <a:pt x="1173" y="2482"/>
                  </a:lnTo>
                  <a:lnTo>
                    <a:pt x="1198" y="2484"/>
                  </a:lnTo>
                  <a:lnTo>
                    <a:pt x="1226" y="2484"/>
                  </a:lnTo>
                  <a:lnTo>
                    <a:pt x="1255" y="2484"/>
                  </a:lnTo>
                  <a:lnTo>
                    <a:pt x="1284" y="2482"/>
                  </a:lnTo>
                  <a:lnTo>
                    <a:pt x="1314" y="2478"/>
                  </a:lnTo>
                  <a:lnTo>
                    <a:pt x="1342" y="2474"/>
                  </a:lnTo>
                  <a:lnTo>
                    <a:pt x="1370" y="2469"/>
                  </a:lnTo>
                  <a:lnTo>
                    <a:pt x="1397" y="2464"/>
                  </a:lnTo>
                  <a:lnTo>
                    <a:pt x="1424" y="2458"/>
                  </a:lnTo>
                  <a:lnTo>
                    <a:pt x="1452" y="2452"/>
                  </a:lnTo>
                  <a:lnTo>
                    <a:pt x="1452" y="2799"/>
                  </a:lnTo>
                  <a:lnTo>
                    <a:pt x="1403" y="2805"/>
                  </a:lnTo>
                  <a:lnTo>
                    <a:pt x="1354" y="2811"/>
                  </a:lnTo>
                  <a:lnTo>
                    <a:pt x="1304" y="2816"/>
                  </a:lnTo>
                  <a:lnTo>
                    <a:pt x="1254" y="2821"/>
                  </a:lnTo>
                  <a:lnTo>
                    <a:pt x="1204" y="2825"/>
                  </a:lnTo>
                  <a:lnTo>
                    <a:pt x="1154" y="2828"/>
                  </a:lnTo>
                  <a:lnTo>
                    <a:pt x="1105" y="2830"/>
                  </a:lnTo>
                  <a:lnTo>
                    <a:pt x="1057" y="2831"/>
                  </a:lnTo>
                  <a:lnTo>
                    <a:pt x="1017" y="2830"/>
                  </a:lnTo>
                  <a:lnTo>
                    <a:pt x="978" y="2829"/>
                  </a:lnTo>
                  <a:lnTo>
                    <a:pt x="941" y="2827"/>
                  </a:lnTo>
                  <a:lnTo>
                    <a:pt x="906" y="2824"/>
                  </a:lnTo>
                  <a:lnTo>
                    <a:pt x="871" y="2820"/>
                  </a:lnTo>
                  <a:lnTo>
                    <a:pt x="838" y="2815"/>
                  </a:lnTo>
                  <a:lnTo>
                    <a:pt x="806" y="2809"/>
                  </a:lnTo>
                  <a:lnTo>
                    <a:pt x="776" y="2802"/>
                  </a:lnTo>
                  <a:lnTo>
                    <a:pt x="746" y="2794"/>
                  </a:lnTo>
                  <a:lnTo>
                    <a:pt x="717" y="2784"/>
                  </a:lnTo>
                  <a:lnTo>
                    <a:pt x="690" y="2774"/>
                  </a:lnTo>
                  <a:lnTo>
                    <a:pt x="664" y="2763"/>
                  </a:lnTo>
                  <a:lnTo>
                    <a:pt x="640" y="2750"/>
                  </a:lnTo>
                  <a:lnTo>
                    <a:pt x="616" y="2736"/>
                  </a:lnTo>
                  <a:lnTo>
                    <a:pt x="594" y="2722"/>
                  </a:lnTo>
                  <a:lnTo>
                    <a:pt x="574" y="2705"/>
                  </a:lnTo>
                  <a:lnTo>
                    <a:pt x="554" y="2688"/>
                  </a:lnTo>
                  <a:lnTo>
                    <a:pt x="536" y="2669"/>
                  </a:lnTo>
                  <a:lnTo>
                    <a:pt x="519" y="2649"/>
                  </a:lnTo>
                  <a:lnTo>
                    <a:pt x="503" y="2628"/>
                  </a:lnTo>
                  <a:lnTo>
                    <a:pt x="488" y="2605"/>
                  </a:lnTo>
                  <a:lnTo>
                    <a:pt x="475" y="2581"/>
                  </a:lnTo>
                  <a:lnTo>
                    <a:pt x="463" y="2555"/>
                  </a:lnTo>
                  <a:lnTo>
                    <a:pt x="451" y="2528"/>
                  </a:lnTo>
                  <a:lnTo>
                    <a:pt x="442" y="2500"/>
                  </a:lnTo>
                  <a:lnTo>
                    <a:pt x="434" y="2470"/>
                  </a:lnTo>
                  <a:lnTo>
                    <a:pt x="427" y="2439"/>
                  </a:lnTo>
                  <a:lnTo>
                    <a:pt x="421" y="2406"/>
                  </a:lnTo>
                  <a:lnTo>
                    <a:pt x="417" y="2372"/>
                  </a:lnTo>
                  <a:lnTo>
                    <a:pt x="413" y="2336"/>
                  </a:lnTo>
                  <a:lnTo>
                    <a:pt x="411" y="2298"/>
                  </a:lnTo>
                  <a:lnTo>
                    <a:pt x="411" y="2258"/>
                  </a:lnTo>
                  <a:lnTo>
                    <a:pt x="411" y="1033"/>
                  </a:lnTo>
                  <a:lnTo>
                    <a:pt x="0" y="1033"/>
                  </a:lnTo>
                  <a:lnTo>
                    <a:pt x="0" y="694"/>
                  </a:lnTo>
                  <a:lnTo>
                    <a:pt x="411" y="694"/>
                  </a:lnTo>
                  <a:lnTo>
                    <a:pt x="411" y="194"/>
                  </a:lnTo>
                  <a:lnTo>
                    <a:pt x="895" y="0"/>
                  </a:lnTo>
                  <a:lnTo>
                    <a:pt x="895" y="694"/>
                  </a:lnTo>
                  <a:lnTo>
                    <a:pt x="1516" y="694"/>
                  </a:lnTo>
                  <a:lnTo>
                    <a:pt x="1516" y="1033"/>
                  </a:lnTo>
                  <a:lnTo>
                    <a:pt x="895" y="103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  <a:cs typeface="+mn-cs"/>
              </a:endParaRPr>
            </a:p>
          </p:txBody>
        </p:sp>
        <p:sp>
          <p:nvSpPr>
            <p:cNvPr id="13" name="Freeform 10"/>
            <p:cNvSpPr>
              <a:spLocks/>
            </p:cNvSpPr>
            <p:nvPr/>
          </p:nvSpPr>
          <p:spPr bwMode="gray">
            <a:xfrm>
              <a:off x="2921000" y="2720975"/>
              <a:ext cx="366713" cy="460375"/>
            </a:xfrm>
            <a:custGeom>
              <a:avLst/>
              <a:gdLst/>
              <a:ahLst/>
              <a:cxnLst>
                <a:cxn ang="0">
                  <a:pos x="1185" y="1702"/>
                </a:cxn>
                <a:cxn ang="0">
                  <a:pos x="1151" y="1772"/>
                </a:cxn>
                <a:cxn ang="0">
                  <a:pos x="1112" y="1838"/>
                </a:cxn>
                <a:cxn ang="0">
                  <a:pos x="1067" y="1899"/>
                </a:cxn>
                <a:cxn ang="0">
                  <a:pos x="1018" y="1953"/>
                </a:cxn>
                <a:cxn ang="0">
                  <a:pos x="964" y="2002"/>
                </a:cxn>
                <a:cxn ang="0">
                  <a:pos x="904" y="2043"/>
                </a:cxn>
                <a:cxn ang="0">
                  <a:pos x="840" y="2078"/>
                </a:cxn>
                <a:cxn ang="0">
                  <a:pos x="772" y="2105"/>
                </a:cxn>
                <a:cxn ang="0">
                  <a:pos x="698" y="2124"/>
                </a:cxn>
                <a:cxn ang="0">
                  <a:pos x="619" y="2135"/>
                </a:cxn>
                <a:cxn ang="0">
                  <a:pos x="528" y="2136"/>
                </a:cxn>
                <a:cxn ang="0">
                  <a:pos x="427" y="2122"/>
                </a:cxn>
                <a:cxn ang="0">
                  <a:pos x="337" y="2093"/>
                </a:cxn>
                <a:cxn ang="0">
                  <a:pos x="258" y="2050"/>
                </a:cxn>
                <a:cxn ang="0">
                  <a:pos x="191" y="1994"/>
                </a:cxn>
                <a:cxn ang="0">
                  <a:pos x="134" y="1928"/>
                </a:cxn>
                <a:cxn ang="0">
                  <a:pos x="87" y="1851"/>
                </a:cxn>
                <a:cxn ang="0">
                  <a:pos x="51" y="1768"/>
                </a:cxn>
                <a:cxn ang="0">
                  <a:pos x="25" y="1678"/>
                </a:cxn>
                <a:cxn ang="0">
                  <a:pos x="8" y="1583"/>
                </a:cxn>
                <a:cxn ang="0">
                  <a:pos x="0" y="1485"/>
                </a:cxn>
                <a:cxn ang="0">
                  <a:pos x="492" y="0"/>
                </a:cxn>
                <a:cxn ang="0">
                  <a:pos x="491" y="1293"/>
                </a:cxn>
                <a:cxn ang="0">
                  <a:pos x="493" y="1391"/>
                </a:cxn>
                <a:cxn ang="0">
                  <a:pos x="503" y="1490"/>
                </a:cxn>
                <a:cxn ang="0">
                  <a:pos x="520" y="1564"/>
                </a:cxn>
                <a:cxn ang="0">
                  <a:pos x="536" y="1602"/>
                </a:cxn>
                <a:cxn ang="0">
                  <a:pos x="556" y="1630"/>
                </a:cxn>
                <a:cxn ang="0">
                  <a:pos x="577" y="1651"/>
                </a:cxn>
                <a:cxn ang="0">
                  <a:pos x="600" y="1665"/>
                </a:cxn>
                <a:cxn ang="0">
                  <a:pos x="627" y="1673"/>
                </a:cxn>
                <a:cxn ang="0">
                  <a:pos x="683" y="1678"/>
                </a:cxn>
                <a:cxn ang="0">
                  <a:pos x="766" y="1672"/>
                </a:cxn>
                <a:cxn ang="0">
                  <a:pos x="852" y="1645"/>
                </a:cxn>
                <a:cxn ang="0">
                  <a:pos x="928" y="1597"/>
                </a:cxn>
                <a:cxn ang="0">
                  <a:pos x="994" y="1531"/>
                </a:cxn>
                <a:cxn ang="0">
                  <a:pos x="1049" y="1454"/>
                </a:cxn>
                <a:cxn ang="0">
                  <a:pos x="1095" y="1367"/>
                </a:cxn>
                <a:cxn ang="0">
                  <a:pos x="1131" y="1272"/>
                </a:cxn>
                <a:cxn ang="0">
                  <a:pos x="1159" y="1176"/>
                </a:cxn>
                <a:cxn ang="0">
                  <a:pos x="1178" y="1080"/>
                </a:cxn>
                <a:cxn ang="0">
                  <a:pos x="1189" y="987"/>
                </a:cxn>
                <a:cxn ang="0">
                  <a:pos x="1193" y="903"/>
                </a:cxn>
                <a:cxn ang="0">
                  <a:pos x="1685" y="2089"/>
                </a:cxn>
              </a:cxnLst>
              <a:rect l="0" t="0" r="r" b="b"/>
              <a:pathLst>
                <a:path w="1685" h="2137">
                  <a:moveTo>
                    <a:pt x="1193" y="2089"/>
                  </a:moveTo>
                  <a:lnTo>
                    <a:pt x="1193" y="1702"/>
                  </a:lnTo>
                  <a:lnTo>
                    <a:pt x="1185" y="1702"/>
                  </a:lnTo>
                  <a:lnTo>
                    <a:pt x="1174" y="1726"/>
                  </a:lnTo>
                  <a:lnTo>
                    <a:pt x="1163" y="1749"/>
                  </a:lnTo>
                  <a:lnTo>
                    <a:pt x="1151" y="1772"/>
                  </a:lnTo>
                  <a:lnTo>
                    <a:pt x="1138" y="1794"/>
                  </a:lnTo>
                  <a:lnTo>
                    <a:pt x="1125" y="1816"/>
                  </a:lnTo>
                  <a:lnTo>
                    <a:pt x="1112" y="1838"/>
                  </a:lnTo>
                  <a:lnTo>
                    <a:pt x="1097" y="1858"/>
                  </a:lnTo>
                  <a:lnTo>
                    <a:pt x="1083" y="1879"/>
                  </a:lnTo>
                  <a:lnTo>
                    <a:pt x="1067" y="1899"/>
                  </a:lnTo>
                  <a:lnTo>
                    <a:pt x="1052" y="1918"/>
                  </a:lnTo>
                  <a:lnTo>
                    <a:pt x="1035" y="1936"/>
                  </a:lnTo>
                  <a:lnTo>
                    <a:pt x="1018" y="1953"/>
                  </a:lnTo>
                  <a:lnTo>
                    <a:pt x="1001" y="1970"/>
                  </a:lnTo>
                  <a:lnTo>
                    <a:pt x="983" y="1986"/>
                  </a:lnTo>
                  <a:lnTo>
                    <a:pt x="964" y="2002"/>
                  </a:lnTo>
                  <a:lnTo>
                    <a:pt x="945" y="2016"/>
                  </a:lnTo>
                  <a:lnTo>
                    <a:pt x="924" y="2030"/>
                  </a:lnTo>
                  <a:lnTo>
                    <a:pt x="904" y="2043"/>
                  </a:lnTo>
                  <a:lnTo>
                    <a:pt x="883" y="2056"/>
                  </a:lnTo>
                  <a:lnTo>
                    <a:pt x="862" y="2067"/>
                  </a:lnTo>
                  <a:lnTo>
                    <a:pt x="840" y="2078"/>
                  </a:lnTo>
                  <a:lnTo>
                    <a:pt x="818" y="2088"/>
                  </a:lnTo>
                  <a:lnTo>
                    <a:pt x="795" y="2097"/>
                  </a:lnTo>
                  <a:lnTo>
                    <a:pt x="772" y="2105"/>
                  </a:lnTo>
                  <a:lnTo>
                    <a:pt x="748" y="2113"/>
                  </a:lnTo>
                  <a:lnTo>
                    <a:pt x="723" y="2119"/>
                  </a:lnTo>
                  <a:lnTo>
                    <a:pt x="698" y="2124"/>
                  </a:lnTo>
                  <a:lnTo>
                    <a:pt x="673" y="2129"/>
                  </a:lnTo>
                  <a:lnTo>
                    <a:pt x="646" y="2132"/>
                  </a:lnTo>
                  <a:lnTo>
                    <a:pt x="619" y="2135"/>
                  </a:lnTo>
                  <a:lnTo>
                    <a:pt x="592" y="2136"/>
                  </a:lnTo>
                  <a:lnTo>
                    <a:pt x="564" y="2137"/>
                  </a:lnTo>
                  <a:lnTo>
                    <a:pt x="528" y="2136"/>
                  </a:lnTo>
                  <a:lnTo>
                    <a:pt x="493" y="2133"/>
                  </a:lnTo>
                  <a:lnTo>
                    <a:pt x="459" y="2128"/>
                  </a:lnTo>
                  <a:lnTo>
                    <a:pt x="427" y="2122"/>
                  </a:lnTo>
                  <a:lnTo>
                    <a:pt x="396" y="2114"/>
                  </a:lnTo>
                  <a:lnTo>
                    <a:pt x="365" y="2104"/>
                  </a:lnTo>
                  <a:lnTo>
                    <a:pt x="337" y="2093"/>
                  </a:lnTo>
                  <a:lnTo>
                    <a:pt x="309" y="2080"/>
                  </a:lnTo>
                  <a:lnTo>
                    <a:pt x="283" y="2066"/>
                  </a:lnTo>
                  <a:lnTo>
                    <a:pt x="258" y="2050"/>
                  </a:lnTo>
                  <a:lnTo>
                    <a:pt x="235" y="2033"/>
                  </a:lnTo>
                  <a:lnTo>
                    <a:pt x="212" y="2014"/>
                  </a:lnTo>
                  <a:lnTo>
                    <a:pt x="191" y="1994"/>
                  </a:lnTo>
                  <a:lnTo>
                    <a:pt x="171" y="1973"/>
                  </a:lnTo>
                  <a:lnTo>
                    <a:pt x="152" y="1951"/>
                  </a:lnTo>
                  <a:lnTo>
                    <a:pt x="134" y="1928"/>
                  </a:lnTo>
                  <a:lnTo>
                    <a:pt x="118" y="1904"/>
                  </a:lnTo>
                  <a:lnTo>
                    <a:pt x="101" y="1879"/>
                  </a:lnTo>
                  <a:lnTo>
                    <a:pt x="87" y="1851"/>
                  </a:lnTo>
                  <a:lnTo>
                    <a:pt x="74" y="1824"/>
                  </a:lnTo>
                  <a:lnTo>
                    <a:pt x="62" y="1797"/>
                  </a:lnTo>
                  <a:lnTo>
                    <a:pt x="51" y="1768"/>
                  </a:lnTo>
                  <a:lnTo>
                    <a:pt x="41" y="1739"/>
                  </a:lnTo>
                  <a:lnTo>
                    <a:pt x="32" y="1709"/>
                  </a:lnTo>
                  <a:lnTo>
                    <a:pt x="25" y="1678"/>
                  </a:lnTo>
                  <a:lnTo>
                    <a:pt x="18" y="1647"/>
                  </a:lnTo>
                  <a:lnTo>
                    <a:pt x="12" y="1616"/>
                  </a:lnTo>
                  <a:lnTo>
                    <a:pt x="8" y="1583"/>
                  </a:lnTo>
                  <a:lnTo>
                    <a:pt x="4" y="1550"/>
                  </a:lnTo>
                  <a:lnTo>
                    <a:pt x="2" y="1518"/>
                  </a:lnTo>
                  <a:lnTo>
                    <a:pt x="0" y="1485"/>
                  </a:lnTo>
                  <a:lnTo>
                    <a:pt x="0" y="1452"/>
                  </a:lnTo>
                  <a:lnTo>
                    <a:pt x="0" y="0"/>
                  </a:lnTo>
                  <a:lnTo>
                    <a:pt x="492" y="0"/>
                  </a:lnTo>
                  <a:lnTo>
                    <a:pt x="492" y="1194"/>
                  </a:lnTo>
                  <a:lnTo>
                    <a:pt x="491" y="1237"/>
                  </a:lnTo>
                  <a:lnTo>
                    <a:pt x="491" y="1293"/>
                  </a:lnTo>
                  <a:lnTo>
                    <a:pt x="491" y="1325"/>
                  </a:lnTo>
                  <a:lnTo>
                    <a:pt x="492" y="1358"/>
                  </a:lnTo>
                  <a:lnTo>
                    <a:pt x="493" y="1391"/>
                  </a:lnTo>
                  <a:lnTo>
                    <a:pt x="495" y="1425"/>
                  </a:lnTo>
                  <a:lnTo>
                    <a:pt x="498" y="1458"/>
                  </a:lnTo>
                  <a:lnTo>
                    <a:pt x="503" y="1490"/>
                  </a:lnTo>
                  <a:lnTo>
                    <a:pt x="508" y="1521"/>
                  </a:lnTo>
                  <a:lnTo>
                    <a:pt x="516" y="1551"/>
                  </a:lnTo>
                  <a:lnTo>
                    <a:pt x="520" y="1564"/>
                  </a:lnTo>
                  <a:lnTo>
                    <a:pt x="525" y="1577"/>
                  </a:lnTo>
                  <a:lnTo>
                    <a:pt x="530" y="1591"/>
                  </a:lnTo>
                  <a:lnTo>
                    <a:pt x="536" y="1602"/>
                  </a:lnTo>
                  <a:lnTo>
                    <a:pt x="542" y="1612"/>
                  </a:lnTo>
                  <a:lnTo>
                    <a:pt x="549" y="1622"/>
                  </a:lnTo>
                  <a:lnTo>
                    <a:pt x="556" y="1630"/>
                  </a:lnTo>
                  <a:lnTo>
                    <a:pt x="564" y="1638"/>
                  </a:lnTo>
                  <a:lnTo>
                    <a:pt x="571" y="1645"/>
                  </a:lnTo>
                  <a:lnTo>
                    <a:pt x="577" y="1651"/>
                  </a:lnTo>
                  <a:lnTo>
                    <a:pt x="585" y="1656"/>
                  </a:lnTo>
                  <a:lnTo>
                    <a:pt x="592" y="1661"/>
                  </a:lnTo>
                  <a:lnTo>
                    <a:pt x="600" y="1665"/>
                  </a:lnTo>
                  <a:lnTo>
                    <a:pt x="609" y="1668"/>
                  </a:lnTo>
                  <a:lnTo>
                    <a:pt x="618" y="1671"/>
                  </a:lnTo>
                  <a:lnTo>
                    <a:pt x="627" y="1673"/>
                  </a:lnTo>
                  <a:lnTo>
                    <a:pt x="645" y="1676"/>
                  </a:lnTo>
                  <a:lnTo>
                    <a:pt x="665" y="1677"/>
                  </a:lnTo>
                  <a:lnTo>
                    <a:pt x="683" y="1678"/>
                  </a:lnTo>
                  <a:lnTo>
                    <a:pt x="702" y="1678"/>
                  </a:lnTo>
                  <a:lnTo>
                    <a:pt x="734" y="1676"/>
                  </a:lnTo>
                  <a:lnTo>
                    <a:pt x="766" y="1672"/>
                  </a:lnTo>
                  <a:lnTo>
                    <a:pt x="796" y="1665"/>
                  </a:lnTo>
                  <a:lnTo>
                    <a:pt x="824" y="1656"/>
                  </a:lnTo>
                  <a:lnTo>
                    <a:pt x="852" y="1645"/>
                  </a:lnTo>
                  <a:lnTo>
                    <a:pt x="878" y="1631"/>
                  </a:lnTo>
                  <a:lnTo>
                    <a:pt x="904" y="1615"/>
                  </a:lnTo>
                  <a:lnTo>
                    <a:pt x="928" y="1597"/>
                  </a:lnTo>
                  <a:lnTo>
                    <a:pt x="952" y="1576"/>
                  </a:lnTo>
                  <a:lnTo>
                    <a:pt x="973" y="1555"/>
                  </a:lnTo>
                  <a:lnTo>
                    <a:pt x="994" y="1531"/>
                  </a:lnTo>
                  <a:lnTo>
                    <a:pt x="1013" y="1507"/>
                  </a:lnTo>
                  <a:lnTo>
                    <a:pt x="1032" y="1481"/>
                  </a:lnTo>
                  <a:lnTo>
                    <a:pt x="1049" y="1454"/>
                  </a:lnTo>
                  <a:lnTo>
                    <a:pt x="1065" y="1426"/>
                  </a:lnTo>
                  <a:lnTo>
                    <a:pt x="1081" y="1397"/>
                  </a:lnTo>
                  <a:lnTo>
                    <a:pt x="1095" y="1367"/>
                  </a:lnTo>
                  <a:lnTo>
                    <a:pt x="1108" y="1336"/>
                  </a:lnTo>
                  <a:lnTo>
                    <a:pt x="1120" y="1304"/>
                  </a:lnTo>
                  <a:lnTo>
                    <a:pt x="1131" y="1272"/>
                  </a:lnTo>
                  <a:lnTo>
                    <a:pt x="1141" y="1240"/>
                  </a:lnTo>
                  <a:lnTo>
                    <a:pt x="1151" y="1208"/>
                  </a:lnTo>
                  <a:lnTo>
                    <a:pt x="1159" y="1176"/>
                  </a:lnTo>
                  <a:lnTo>
                    <a:pt x="1166" y="1143"/>
                  </a:lnTo>
                  <a:lnTo>
                    <a:pt x="1173" y="1112"/>
                  </a:lnTo>
                  <a:lnTo>
                    <a:pt x="1178" y="1080"/>
                  </a:lnTo>
                  <a:lnTo>
                    <a:pt x="1183" y="1049"/>
                  </a:lnTo>
                  <a:lnTo>
                    <a:pt x="1187" y="1017"/>
                  </a:lnTo>
                  <a:lnTo>
                    <a:pt x="1189" y="987"/>
                  </a:lnTo>
                  <a:lnTo>
                    <a:pt x="1192" y="958"/>
                  </a:lnTo>
                  <a:lnTo>
                    <a:pt x="1193" y="930"/>
                  </a:lnTo>
                  <a:lnTo>
                    <a:pt x="1193" y="903"/>
                  </a:lnTo>
                  <a:lnTo>
                    <a:pt x="1193" y="0"/>
                  </a:lnTo>
                  <a:lnTo>
                    <a:pt x="1685" y="0"/>
                  </a:lnTo>
                  <a:lnTo>
                    <a:pt x="1685" y="2089"/>
                  </a:lnTo>
                  <a:lnTo>
                    <a:pt x="1193" y="208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  <a:cs typeface="+mn-cs"/>
              </a:endParaRPr>
            </a:p>
          </p:txBody>
        </p:sp>
        <p:sp>
          <p:nvSpPr>
            <p:cNvPr id="14" name="Freeform 11"/>
            <p:cNvSpPr>
              <a:spLocks/>
            </p:cNvSpPr>
            <p:nvPr/>
          </p:nvSpPr>
          <p:spPr bwMode="gray">
            <a:xfrm>
              <a:off x="3354388" y="2708275"/>
              <a:ext cx="250825" cy="463550"/>
            </a:xfrm>
            <a:custGeom>
              <a:avLst/>
              <a:gdLst/>
              <a:ahLst/>
              <a:cxnLst>
                <a:cxn ang="0">
                  <a:pos x="484" y="2137"/>
                </a:cxn>
                <a:cxn ang="0">
                  <a:pos x="0" y="48"/>
                </a:cxn>
                <a:cxn ang="0">
                  <a:pos x="484" y="435"/>
                </a:cxn>
                <a:cxn ang="0">
                  <a:pos x="523" y="382"/>
                </a:cxn>
                <a:cxn ang="0">
                  <a:pos x="571" y="310"/>
                </a:cxn>
                <a:cxn ang="0">
                  <a:pos x="603" y="266"/>
                </a:cxn>
                <a:cxn ang="0">
                  <a:pos x="638" y="224"/>
                </a:cxn>
                <a:cxn ang="0">
                  <a:pos x="672" y="187"/>
                </a:cxn>
                <a:cxn ang="0">
                  <a:pos x="707" y="153"/>
                </a:cxn>
                <a:cxn ang="0">
                  <a:pos x="745" y="122"/>
                </a:cxn>
                <a:cxn ang="0">
                  <a:pos x="784" y="95"/>
                </a:cxn>
                <a:cxn ang="0">
                  <a:pos x="825" y="72"/>
                </a:cxn>
                <a:cxn ang="0">
                  <a:pos x="869" y="51"/>
                </a:cxn>
                <a:cxn ang="0">
                  <a:pos x="917" y="34"/>
                </a:cxn>
                <a:cxn ang="0">
                  <a:pos x="967" y="21"/>
                </a:cxn>
                <a:cxn ang="0">
                  <a:pos x="1020" y="11"/>
                </a:cxn>
                <a:cxn ang="0">
                  <a:pos x="1076" y="4"/>
                </a:cxn>
                <a:cxn ang="0">
                  <a:pos x="1137" y="0"/>
                </a:cxn>
                <a:cxn ang="0">
                  <a:pos x="1170" y="507"/>
                </a:cxn>
                <a:cxn ang="0">
                  <a:pos x="1079" y="510"/>
                </a:cxn>
                <a:cxn ang="0">
                  <a:pos x="997" y="519"/>
                </a:cxn>
                <a:cxn ang="0">
                  <a:pos x="921" y="532"/>
                </a:cxn>
                <a:cxn ang="0">
                  <a:pos x="851" y="550"/>
                </a:cxn>
                <a:cxn ang="0">
                  <a:pos x="789" y="574"/>
                </a:cxn>
                <a:cxn ang="0">
                  <a:pos x="733" y="603"/>
                </a:cxn>
                <a:cxn ang="0">
                  <a:pos x="683" y="638"/>
                </a:cxn>
                <a:cxn ang="0">
                  <a:pos x="640" y="678"/>
                </a:cxn>
                <a:cxn ang="0">
                  <a:pos x="601" y="724"/>
                </a:cxn>
                <a:cxn ang="0">
                  <a:pos x="569" y="776"/>
                </a:cxn>
                <a:cxn ang="0">
                  <a:pos x="542" y="835"/>
                </a:cxn>
                <a:cxn ang="0">
                  <a:pos x="521" y="899"/>
                </a:cxn>
                <a:cxn ang="0">
                  <a:pos x="504" y="969"/>
                </a:cxn>
                <a:cxn ang="0">
                  <a:pos x="493" y="1045"/>
                </a:cxn>
                <a:cxn ang="0">
                  <a:pos x="486" y="1129"/>
                </a:cxn>
                <a:cxn ang="0">
                  <a:pos x="484" y="1217"/>
                </a:cxn>
              </a:cxnLst>
              <a:rect l="0" t="0" r="r" b="b"/>
              <a:pathLst>
                <a:path w="1170" h="2137">
                  <a:moveTo>
                    <a:pt x="484" y="1217"/>
                  </a:moveTo>
                  <a:lnTo>
                    <a:pt x="484" y="2137"/>
                  </a:lnTo>
                  <a:lnTo>
                    <a:pt x="0" y="2137"/>
                  </a:lnTo>
                  <a:lnTo>
                    <a:pt x="0" y="48"/>
                  </a:lnTo>
                  <a:lnTo>
                    <a:pt x="484" y="48"/>
                  </a:lnTo>
                  <a:lnTo>
                    <a:pt x="484" y="435"/>
                  </a:lnTo>
                  <a:lnTo>
                    <a:pt x="492" y="435"/>
                  </a:lnTo>
                  <a:lnTo>
                    <a:pt x="523" y="382"/>
                  </a:lnTo>
                  <a:lnTo>
                    <a:pt x="555" y="333"/>
                  </a:lnTo>
                  <a:lnTo>
                    <a:pt x="571" y="310"/>
                  </a:lnTo>
                  <a:lnTo>
                    <a:pt x="587" y="287"/>
                  </a:lnTo>
                  <a:lnTo>
                    <a:pt x="603" y="266"/>
                  </a:lnTo>
                  <a:lnTo>
                    <a:pt x="621" y="245"/>
                  </a:lnTo>
                  <a:lnTo>
                    <a:pt x="638" y="224"/>
                  </a:lnTo>
                  <a:lnTo>
                    <a:pt x="655" y="205"/>
                  </a:lnTo>
                  <a:lnTo>
                    <a:pt x="672" y="187"/>
                  </a:lnTo>
                  <a:lnTo>
                    <a:pt x="690" y="170"/>
                  </a:lnTo>
                  <a:lnTo>
                    <a:pt x="707" y="153"/>
                  </a:lnTo>
                  <a:lnTo>
                    <a:pt x="726" y="137"/>
                  </a:lnTo>
                  <a:lnTo>
                    <a:pt x="745" y="122"/>
                  </a:lnTo>
                  <a:lnTo>
                    <a:pt x="764" y="108"/>
                  </a:lnTo>
                  <a:lnTo>
                    <a:pt x="784" y="95"/>
                  </a:lnTo>
                  <a:lnTo>
                    <a:pt x="804" y="83"/>
                  </a:lnTo>
                  <a:lnTo>
                    <a:pt x="825" y="72"/>
                  </a:lnTo>
                  <a:lnTo>
                    <a:pt x="847" y="61"/>
                  </a:lnTo>
                  <a:lnTo>
                    <a:pt x="869" y="51"/>
                  </a:lnTo>
                  <a:lnTo>
                    <a:pt x="893" y="42"/>
                  </a:lnTo>
                  <a:lnTo>
                    <a:pt x="917" y="34"/>
                  </a:lnTo>
                  <a:lnTo>
                    <a:pt x="941" y="27"/>
                  </a:lnTo>
                  <a:lnTo>
                    <a:pt x="967" y="21"/>
                  </a:lnTo>
                  <a:lnTo>
                    <a:pt x="993" y="15"/>
                  </a:lnTo>
                  <a:lnTo>
                    <a:pt x="1020" y="11"/>
                  </a:lnTo>
                  <a:lnTo>
                    <a:pt x="1048" y="7"/>
                  </a:lnTo>
                  <a:lnTo>
                    <a:pt x="1076" y="4"/>
                  </a:lnTo>
                  <a:lnTo>
                    <a:pt x="1106" y="2"/>
                  </a:lnTo>
                  <a:lnTo>
                    <a:pt x="1137" y="0"/>
                  </a:lnTo>
                  <a:lnTo>
                    <a:pt x="1170" y="0"/>
                  </a:lnTo>
                  <a:lnTo>
                    <a:pt x="1170" y="507"/>
                  </a:lnTo>
                  <a:lnTo>
                    <a:pt x="1123" y="508"/>
                  </a:lnTo>
                  <a:lnTo>
                    <a:pt x="1079" y="510"/>
                  </a:lnTo>
                  <a:lnTo>
                    <a:pt x="1037" y="513"/>
                  </a:lnTo>
                  <a:lnTo>
                    <a:pt x="997" y="519"/>
                  </a:lnTo>
                  <a:lnTo>
                    <a:pt x="958" y="524"/>
                  </a:lnTo>
                  <a:lnTo>
                    <a:pt x="921" y="532"/>
                  </a:lnTo>
                  <a:lnTo>
                    <a:pt x="886" y="540"/>
                  </a:lnTo>
                  <a:lnTo>
                    <a:pt x="851" y="550"/>
                  </a:lnTo>
                  <a:lnTo>
                    <a:pt x="819" y="561"/>
                  </a:lnTo>
                  <a:lnTo>
                    <a:pt x="789" y="574"/>
                  </a:lnTo>
                  <a:lnTo>
                    <a:pt x="760" y="588"/>
                  </a:lnTo>
                  <a:lnTo>
                    <a:pt x="733" y="603"/>
                  </a:lnTo>
                  <a:lnTo>
                    <a:pt x="707" y="620"/>
                  </a:lnTo>
                  <a:lnTo>
                    <a:pt x="683" y="638"/>
                  </a:lnTo>
                  <a:lnTo>
                    <a:pt x="661" y="657"/>
                  </a:lnTo>
                  <a:lnTo>
                    <a:pt x="640" y="678"/>
                  </a:lnTo>
                  <a:lnTo>
                    <a:pt x="620" y="700"/>
                  </a:lnTo>
                  <a:lnTo>
                    <a:pt x="601" y="724"/>
                  </a:lnTo>
                  <a:lnTo>
                    <a:pt x="584" y="750"/>
                  </a:lnTo>
                  <a:lnTo>
                    <a:pt x="569" y="776"/>
                  </a:lnTo>
                  <a:lnTo>
                    <a:pt x="555" y="806"/>
                  </a:lnTo>
                  <a:lnTo>
                    <a:pt x="542" y="835"/>
                  </a:lnTo>
                  <a:lnTo>
                    <a:pt x="531" y="867"/>
                  </a:lnTo>
                  <a:lnTo>
                    <a:pt x="521" y="899"/>
                  </a:lnTo>
                  <a:lnTo>
                    <a:pt x="512" y="933"/>
                  </a:lnTo>
                  <a:lnTo>
                    <a:pt x="504" y="969"/>
                  </a:lnTo>
                  <a:lnTo>
                    <a:pt x="498" y="1007"/>
                  </a:lnTo>
                  <a:lnTo>
                    <a:pt x="493" y="1045"/>
                  </a:lnTo>
                  <a:lnTo>
                    <a:pt x="489" y="1087"/>
                  </a:lnTo>
                  <a:lnTo>
                    <a:pt x="486" y="1129"/>
                  </a:lnTo>
                  <a:lnTo>
                    <a:pt x="484" y="1172"/>
                  </a:lnTo>
                  <a:lnTo>
                    <a:pt x="484" y="12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  <a:cs typeface="+mn-cs"/>
              </a:endParaRPr>
            </a:p>
          </p:txBody>
        </p:sp>
        <p:sp>
          <p:nvSpPr>
            <p:cNvPr id="15" name="Freeform 12"/>
            <p:cNvSpPr>
              <a:spLocks noEditPoints="1"/>
            </p:cNvSpPr>
            <p:nvPr/>
          </p:nvSpPr>
          <p:spPr bwMode="gray">
            <a:xfrm>
              <a:off x="3627438" y="2708275"/>
              <a:ext cx="365125" cy="473075"/>
            </a:xfrm>
            <a:custGeom>
              <a:avLst/>
              <a:gdLst/>
              <a:ahLst/>
              <a:cxnLst>
                <a:cxn ang="0">
                  <a:pos x="475" y="631"/>
                </a:cxn>
                <a:cxn ang="0">
                  <a:pos x="496" y="558"/>
                </a:cxn>
                <a:cxn ang="0">
                  <a:pos x="528" y="492"/>
                </a:cxn>
                <a:cxn ang="0">
                  <a:pos x="571" y="434"/>
                </a:cxn>
                <a:cxn ang="0">
                  <a:pos x="623" y="386"/>
                </a:cxn>
                <a:cxn ang="0">
                  <a:pos x="683" y="348"/>
                </a:cxn>
                <a:cxn ang="0">
                  <a:pos x="751" y="322"/>
                </a:cxn>
                <a:cxn ang="0">
                  <a:pos x="825" y="308"/>
                </a:cxn>
                <a:cxn ang="0">
                  <a:pos x="904" y="308"/>
                </a:cxn>
                <a:cxn ang="0">
                  <a:pos x="981" y="320"/>
                </a:cxn>
                <a:cxn ang="0">
                  <a:pos x="1050" y="345"/>
                </a:cxn>
                <a:cxn ang="0">
                  <a:pos x="1108" y="381"/>
                </a:cxn>
                <a:cxn ang="0">
                  <a:pos x="1156" y="427"/>
                </a:cxn>
                <a:cxn ang="0">
                  <a:pos x="1193" y="484"/>
                </a:cxn>
                <a:cxn ang="0">
                  <a:pos x="1219" y="552"/>
                </a:cxn>
                <a:cxn ang="0">
                  <a:pos x="1232" y="628"/>
                </a:cxn>
                <a:cxn ang="0">
                  <a:pos x="1694" y="847"/>
                </a:cxn>
                <a:cxn ang="0">
                  <a:pos x="1682" y="664"/>
                </a:cxn>
                <a:cxn ang="0">
                  <a:pos x="1646" y="499"/>
                </a:cxn>
                <a:cxn ang="0">
                  <a:pos x="1585" y="355"/>
                </a:cxn>
                <a:cxn ang="0">
                  <a:pos x="1498" y="232"/>
                </a:cxn>
                <a:cxn ang="0">
                  <a:pos x="1388" y="133"/>
                </a:cxn>
                <a:cxn ang="0">
                  <a:pos x="1251" y="61"/>
                </a:cxn>
                <a:cxn ang="0">
                  <a:pos x="1091" y="15"/>
                </a:cxn>
                <a:cxn ang="0">
                  <a:pos x="903" y="0"/>
                </a:cxn>
                <a:cxn ang="0">
                  <a:pos x="684" y="18"/>
                </a:cxn>
                <a:cxn ang="0">
                  <a:pos x="497" y="70"/>
                </a:cxn>
                <a:cxn ang="0">
                  <a:pos x="341" y="153"/>
                </a:cxn>
                <a:cxn ang="0">
                  <a:pos x="216" y="268"/>
                </a:cxn>
                <a:cxn ang="0">
                  <a:pos x="120" y="410"/>
                </a:cxn>
                <a:cxn ang="0">
                  <a:pos x="53" y="578"/>
                </a:cxn>
                <a:cxn ang="0">
                  <a:pos x="13" y="770"/>
                </a:cxn>
                <a:cxn ang="0">
                  <a:pos x="0" y="983"/>
                </a:cxn>
                <a:cxn ang="0">
                  <a:pos x="15" y="1232"/>
                </a:cxn>
                <a:cxn ang="0">
                  <a:pos x="61" y="1461"/>
                </a:cxn>
                <a:cxn ang="0">
                  <a:pos x="139" y="1666"/>
                </a:cxn>
                <a:cxn ang="0">
                  <a:pos x="250" y="1841"/>
                </a:cxn>
                <a:cxn ang="0">
                  <a:pos x="396" y="1986"/>
                </a:cxn>
                <a:cxn ang="0">
                  <a:pos x="579" y="2094"/>
                </a:cxn>
                <a:cxn ang="0">
                  <a:pos x="799" y="2161"/>
                </a:cxn>
                <a:cxn ang="0">
                  <a:pos x="1057" y="2185"/>
                </a:cxn>
                <a:cxn ang="0">
                  <a:pos x="1206" y="2180"/>
                </a:cxn>
                <a:cxn ang="0">
                  <a:pos x="1354" y="2166"/>
                </a:cxn>
                <a:cxn ang="0">
                  <a:pos x="1500" y="2141"/>
                </a:cxn>
                <a:cxn ang="0">
                  <a:pos x="1646" y="2105"/>
                </a:cxn>
                <a:cxn ang="0">
                  <a:pos x="1495" y="1807"/>
                </a:cxn>
                <a:cxn ang="0">
                  <a:pos x="1367" y="1830"/>
                </a:cxn>
                <a:cxn ang="0">
                  <a:pos x="1266" y="1838"/>
                </a:cxn>
                <a:cxn ang="0">
                  <a:pos x="1113" y="1827"/>
                </a:cxn>
                <a:cxn ang="0">
                  <a:pos x="954" y="1781"/>
                </a:cxn>
                <a:cxn ang="0">
                  <a:pos x="815" y="1704"/>
                </a:cxn>
                <a:cxn ang="0">
                  <a:pos x="695" y="1599"/>
                </a:cxn>
                <a:cxn ang="0">
                  <a:pos x="597" y="1473"/>
                </a:cxn>
                <a:cxn ang="0">
                  <a:pos x="523" y="1328"/>
                </a:cxn>
                <a:cxn ang="0">
                  <a:pos x="475" y="1173"/>
                </a:cxn>
                <a:cxn ang="0">
                  <a:pos x="453" y="1009"/>
                </a:cxn>
              </a:cxnLst>
              <a:rect l="0" t="0" r="r" b="b"/>
              <a:pathLst>
                <a:path w="1694" h="2185">
                  <a:moveTo>
                    <a:pt x="1234" y="669"/>
                  </a:moveTo>
                  <a:lnTo>
                    <a:pt x="469" y="669"/>
                  </a:lnTo>
                  <a:lnTo>
                    <a:pt x="471" y="650"/>
                  </a:lnTo>
                  <a:lnTo>
                    <a:pt x="475" y="631"/>
                  </a:lnTo>
                  <a:lnTo>
                    <a:pt x="479" y="612"/>
                  </a:lnTo>
                  <a:lnTo>
                    <a:pt x="484" y="593"/>
                  </a:lnTo>
                  <a:lnTo>
                    <a:pt x="489" y="576"/>
                  </a:lnTo>
                  <a:lnTo>
                    <a:pt x="496" y="558"/>
                  </a:lnTo>
                  <a:lnTo>
                    <a:pt x="503" y="541"/>
                  </a:lnTo>
                  <a:lnTo>
                    <a:pt x="511" y="524"/>
                  </a:lnTo>
                  <a:lnTo>
                    <a:pt x="519" y="507"/>
                  </a:lnTo>
                  <a:lnTo>
                    <a:pt x="528" y="492"/>
                  </a:lnTo>
                  <a:lnTo>
                    <a:pt x="538" y="476"/>
                  </a:lnTo>
                  <a:lnTo>
                    <a:pt x="549" y="462"/>
                  </a:lnTo>
                  <a:lnTo>
                    <a:pt x="560" y="448"/>
                  </a:lnTo>
                  <a:lnTo>
                    <a:pt x="571" y="434"/>
                  </a:lnTo>
                  <a:lnTo>
                    <a:pt x="583" y="421"/>
                  </a:lnTo>
                  <a:lnTo>
                    <a:pt x="596" y="409"/>
                  </a:lnTo>
                  <a:lnTo>
                    <a:pt x="609" y="397"/>
                  </a:lnTo>
                  <a:lnTo>
                    <a:pt x="623" y="386"/>
                  </a:lnTo>
                  <a:lnTo>
                    <a:pt x="637" y="376"/>
                  </a:lnTo>
                  <a:lnTo>
                    <a:pt x="652" y="366"/>
                  </a:lnTo>
                  <a:lnTo>
                    <a:pt x="667" y="357"/>
                  </a:lnTo>
                  <a:lnTo>
                    <a:pt x="683" y="348"/>
                  </a:lnTo>
                  <a:lnTo>
                    <a:pt x="699" y="341"/>
                  </a:lnTo>
                  <a:lnTo>
                    <a:pt x="716" y="333"/>
                  </a:lnTo>
                  <a:lnTo>
                    <a:pt x="734" y="327"/>
                  </a:lnTo>
                  <a:lnTo>
                    <a:pt x="751" y="322"/>
                  </a:lnTo>
                  <a:lnTo>
                    <a:pt x="769" y="317"/>
                  </a:lnTo>
                  <a:lnTo>
                    <a:pt x="787" y="313"/>
                  </a:lnTo>
                  <a:lnTo>
                    <a:pt x="806" y="310"/>
                  </a:lnTo>
                  <a:lnTo>
                    <a:pt x="825" y="308"/>
                  </a:lnTo>
                  <a:lnTo>
                    <a:pt x="844" y="307"/>
                  </a:lnTo>
                  <a:lnTo>
                    <a:pt x="863" y="306"/>
                  </a:lnTo>
                  <a:lnTo>
                    <a:pt x="884" y="307"/>
                  </a:lnTo>
                  <a:lnTo>
                    <a:pt x="904" y="308"/>
                  </a:lnTo>
                  <a:lnTo>
                    <a:pt x="924" y="310"/>
                  </a:lnTo>
                  <a:lnTo>
                    <a:pt x="944" y="313"/>
                  </a:lnTo>
                  <a:lnTo>
                    <a:pt x="963" y="316"/>
                  </a:lnTo>
                  <a:lnTo>
                    <a:pt x="981" y="320"/>
                  </a:lnTo>
                  <a:lnTo>
                    <a:pt x="999" y="326"/>
                  </a:lnTo>
                  <a:lnTo>
                    <a:pt x="1017" y="331"/>
                  </a:lnTo>
                  <a:lnTo>
                    <a:pt x="1034" y="338"/>
                  </a:lnTo>
                  <a:lnTo>
                    <a:pt x="1050" y="345"/>
                  </a:lnTo>
                  <a:lnTo>
                    <a:pt x="1065" y="353"/>
                  </a:lnTo>
                  <a:lnTo>
                    <a:pt x="1080" y="361"/>
                  </a:lnTo>
                  <a:lnTo>
                    <a:pt x="1094" y="371"/>
                  </a:lnTo>
                  <a:lnTo>
                    <a:pt x="1108" y="381"/>
                  </a:lnTo>
                  <a:lnTo>
                    <a:pt x="1121" y="391"/>
                  </a:lnTo>
                  <a:lnTo>
                    <a:pt x="1133" y="403"/>
                  </a:lnTo>
                  <a:lnTo>
                    <a:pt x="1145" y="415"/>
                  </a:lnTo>
                  <a:lnTo>
                    <a:pt x="1156" y="427"/>
                  </a:lnTo>
                  <a:lnTo>
                    <a:pt x="1167" y="441"/>
                  </a:lnTo>
                  <a:lnTo>
                    <a:pt x="1176" y="455"/>
                  </a:lnTo>
                  <a:lnTo>
                    <a:pt x="1185" y="469"/>
                  </a:lnTo>
                  <a:lnTo>
                    <a:pt x="1193" y="484"/>
                  </a:lnTo>
                  <a:lnTo>
                    <a:pt x="1201" y="500"/>
                  </a:lnTo>
                  <a:lnTo>
                    <a:pt x="1208" y="517"/>
                  </a:lnTo>
                  <a:lnTo>
                    <a:pt x="1214" y="535"/>
                  </a:lnTo>
                  <a:lnTo>
                    <a:pt x="1219" y="552"/>
                  </a:lnTo>
                  <a:lnTo>
                    <a:pt x="1224" y="570"/>
                  </a:lnTo>
                  <a:lnTo>
                    <a:pt x="1227" y="589"/>
                  </a:lnTo>
                  <a:lnTo>
                    <a:pt x="1230" y="608"/>
                  </a:lnTo>
                  <a:lnTo>
                    <a:pt x="1232" y="628"/>
                  </a:lnTo>
                  <a:lnTo>
                    <a:pt x="1233" y="648"/>
                  </a:lnTo>
                  <a:lnTo>
                    <a:pt x="1234" y="669"/>
                  </a:lnTo>
                  <a:close/>
                  <a:moveTo>
                    <a:pt x="1694" y="967"/>
                  </a:moveTo>
                  <a:lnTo>
                    <a:pt x="1694" y="847"/>
                  </a:lnTo>
                  <a:lnTo>
                    <a:pt x="1693" y="800"/>
                  </a:lnTo>
                  <a:lnTo>
                    <a:pt x="1691" y="753"/>
                  </a:lnTo>
                  <a:lnTo>
                    <a:pt x="1687" y="708"/>
                  </a:lnTo>
                  <a:lnTo>
                    <a:pt x="1682" y="664"/>
                  </a:lnTo>
                  <a:lnTo>
                    <a:pt x="1675" y="622"/>
                  </a:lnTo>
                  <a:lnTo>
                    <a:pt x="1667" y="580"/>
                  </a:lnTo>
                  <a:lnTo>
                    <a:pt x="1657" y="540"/>
                  </a:lnTo>
                  <a:lnTo>
                    <a:pt x="1646" y="499"/>
                  </a:lnTo>
                  <a:lnTo>
                    <a:pt x="1633" y="461"/>
                  </a:lnTo>
                  <a:lnTo>
                    <a:pt x="1618" y="425"/>
                  </a:lnTo>
                  <a:lnTo>
                    <a:pt x="1602" y="389"/>
                  </a:lnTo>
                  <a:lnTo>
                    <a:pt x="1585" y="355"/>
                  </a:lnTo>
                  <a:lnTo>
                    <a:pt x="1566" y="323"/>
                  </a:lnTo>
                  <a:lnTo>
                    <a:pt x="1544" y="291"/>
                  </a:lnTo>
                  <a:lnTo>
                    <a:pt x="1522" y="262"/>
                  </a:lnTo>
                  <a:lnTo>
                    <a:pt x="1498" y="232"/>
                  </a:lnTo>
                  <a:lnTo>
                    <a:pt x="1473" y="205"/>
                  </a:lnTo>
                  <a:lnTo>
                    <a:pt x="1446" y="180"/>
                  </a:lnTo>
                  <a:lnTo>
                    <a:pt x="1418" y="156"/>
                  </a:lnTo>
                  <a:lnTo>
                    <a:pt x="1388" y="133"/>
                  </a:lnTo>
                  <a:lnTo>
                    <a:pt x="1356" y="113"/>
                  </a:lnTo>
                  <a:lnTo>
                    <a:pt x="1323" y="94"/>
                  </a:lnTo>
                  <a:lnTo>
                    <a:pt x="1288" y="76"/>
                  </a:lnTo>
                  <a:lnTo>
                    <a:pt x="1251" y="61"/>
                  </a:lnTo>
                  <a:lnTo>
                    <a:pt x="1213" y="47"/>
                  </a:lnTo>
                  <a:lnTo>
                    <a:pt x="1174" y="34"/>
                  </a:lnTo>
                  <a:lnTo>
                    <a:pt x="1133" y="24"/>
                  </a:lnTo>
                  <a:lnTo>
                    <a:pt x="1091" y="15"/>
                  </a:lnTo>
                  <a:lnTo>
                    <a:pt x="1046" y="9"/>
                  </a:lnTo>
                  <a:lnTo>
                    <a:pt x="1000" y="4"/>
                  </a:lnTo>
                  <a:lnTo>
                    <a:pt x="952" y="1"/>
                  </a:lnTo>
                  <a:lnTo>
                    <a:pt x="903" y="0"/>
                  </a:lnTo>
                  <a:lnTo>
                    <a:pt x="846" y="1"/>
                  </a:lnTo>
                  <a:lnTo>
                    <a:pt x="790" y="4"/>
                  </a:lnTo>
                  <a:lnTo>
                    <a:pt x="736" y="10"/>
                  </a:lnTo>
                  <a:lnTo>
                    <a:pt x="684" y="18"/>
                  </a:lnTo>
                  <a:lnTo>
                    <a:pt x="634" y="28"/>
                  </a:lnTo>
                  <a:lnTo>
                    <a:pt x="587" y="39"/>
                  </a:lnTo>
                  <a:lnTo>
                    <a:pt x="541" y="54"/>
                  </a:lnTo>
                  <a:lnTo>
                    <a:pt x="497" y="70"/>
                  </a:lnTo>
                  <a:lnTo>
                    <a:pt x="456" y="88"/>
                  </a:lnTo>
                  <a:lnTo>
                    <a:pt x="415" y="108"/>
                  </a:lnTo>
                  <a:lnTo>
                    <a:pt x="377" y="130"/>
                  </a:lnTo>
                  <a:lnTo>
                    <a:pt x="341" y="153"/>
                  </a:lnTo>
                  <a:lnTo>
                    <a:pt x="307" y="179"/>
                  </a:lnTo>
                  <a:lnTo>
                    <a:pt x="275" y="207"/>
                  </a:lnTo>
                  <a:lnTo>
                    <a:pt x="245" y="236"/>
                  </a:lnTo>
                  <a:lnTo>
                    <a:pt x="216" y="268"/>
                  </a:lnTo>
                  <a:lnTo>
                    <a:pt x="190" y="301"/>
                  </a:lnTo>
                  <a:lnTo>
                    <a:pt x="164" y="336"/>
                  </a:lnTo>
                  <a:lnTo>
                    <a:pt x="141" y="372"/>
                  </a:lnTo>
                  <a:lnTo>
                    <a:pt x="120" y="410"/>
                  </a:lnTo>
                  <a:lnTo>
                    <a:pt x="100" y="449"/>
                  </a:lnTo>
                  <a:lnTo>
                    <a:pt x="83" y="491"/>
                  </a:lnTo>
                  <a:lnTo>
                    <a:pt x="67" y="534"/>
                  </a:lnTo>
                  <a:lnTo>
                    <a:pt x="53" y="578"/>
                  </a:lnTo>
                  <a:lnTo>
                    <a:pt x="40" y="624"/>
                  </a:lnTo>
                  <a:lnTo>
                    <a:pt x="30" y="671"/>
                  </a:lnTo>
                  <a:lnTo>
                    <a:pt x="21" y="720"/>
                  </a:lnTo>
                  <a:lnTo>
                    <a:pt x="13" y="770"/>
                  </a:lnTo>
                  <a:lnTo>
                    <a:pt x="8" y="822"/>
                  </a:lnTo>
                  <a:lnTo>
                    <a:pt x="4" y="874"/>
                  </a:lnTo>
                  <a:lnTo>
                    <a:pt x="1" y="928"/>
                  </a:lnTo>
                  <a:lnTo>
                    <a:pt x="0" y="983"/>
                  </a:lnTo>
                  <a:lnTo>
                    <a:pt x="1" y="1047"/>
                  </a:lnTo>
                  <a:lnTo>
                    <a:pt x="4" y="1110"/>
                  </a:lnTo>
                  <a:lnTo>
                    <a:pt x="9" y="1172"/>
                  </a:lnTo>
                  <a:lnTo>
                    <a:pt x="15" y="1232"/>
                  </a:lnTo>
                  <a:lnTo>
                    <a:pt x="24" y="1291"/>
                  </a:lnTo>
                  <a:lnTo>
                    <a:pt x="34" y="1349"/>
                  </a:lnTo>
                  <a:lnTo>
                    <a:pt x="47" y="1406"/>
                  </a:lnTo>
                  <a:lnTo>
                    <a:pt x="61" y="1461"/>
                  </a:lnTo>
                  <a:lnTo>
                    <a:pt x="77" y="1514"/>
                  </a:lnTo>
                  <a:lnTo>
                    <a:pt x="96" y="1566"/>
                  </a:lnTo>
                  <a:lnTo>
                    <a:pt x="116" y="1616"/>
                  </a:lnTo>
                  <a:lnTo>
                    <a:pt x="139" y="1666"/>
                  </a:lnTo>
                  <a:lnTo>
                    <a:pt x="163" y="1712"/>
                  </a:lnTo>
                  <a:lnTo>
                    <a:pt x="191" y="1757"/>
                  </a:lnTo>
                  <a:lnTo>
                    <a:pt x="220" y="1800"/>
                  </a:lnTo>
                  <a:lnTo>
                    <a:pt x="250" y="1841"/>
                  </a:lnTo>
                  <a:lnTo>
                    <a:pt x="284" y="1881"/>
                  </a:lnTo>
                  <a:lnTo>
                    <a:pt x="319" y="1919"/>
                  </a:lnTo>
                  <a:lnTo>
                    <a:pt x="356" y="1953"/>
                  </a:lnTo>
                  <a:lnTo>
                    <a:pt x="396" y="1986"/>
                  </a:lnTo>
                  <a:lnTo>
                    <a:pt x="438" y="2017"/>
                  </a:lnTo>
                  <a:lnTo>
                    <a:pt x="483" y="2045"/>
                  </a:lnTo>
                  <a:lnTo>
                    <a:pt x="530" y="2071"/>
                  </a:lnTo>
                  <a:lnTo>
                    <a:pt x="579" y="2094"/>
                  </a:lnTo>
                  <a:lnTo>
                    <a:pt x="630" y="2115"/>
                  </a:lnTo>
                  <a:lnTo>
                    <a:pt x="683" y="2133"/>
                  </a:lnTo>
                  <a:lnTo>
                    <a:pt x="740" y="2149"/>
                  </a:lnTo>
                  <a:lnTo>
                    <a:pt x="799" y="2161"/>
                  </a:lnTo>
                  <a:lnTo>
                    <a:pt x="859" y="2172"/>
                  </a:lnTo>
                  <a:lnTo>
                    <a:pt x="922" y="2179"/>
                  </a:lnTo>
                  <a:lnTo>
                    <a:pt x="988" y="2183"/>
                  </a:lnTo>
                  <a:lnTo>
                    <a:pt x="1057" y="2185"/>
                  </a:lnTo>
                  <a:lnTo>
                    <a:pt x="1095" y="2185"/>
                  </a:lnTo>
                  <a:lnTo>
                    <a:pt x="1132" y="2184"/>
                  </a:lnTo>
                  <a:lnTo>
                    <a:pt x="1169" y="2182"/>
                  </a:lnTo>
                  <a:lnTo>
                    <a:pt x="1206" y="2180"/>
                  </a:lnTo>
                  <a:lnTo>
                    <a:pt x="1243" y="2178"/>
                  </a:lnTo>
                  <a:lnTo>
                    <a:pt x="1281" y="2174"/>
                  </a:lnTo>
                  <a:lnTo>
                    <a:pt x="1318" y="2170"/>
                  </a:lnTo>
                  <a:lnTo>
                    <a:pt x="1354" y="2166"/>
                  </a:lnTo>
                  <a:lnTo>
                    <a:pt x="1391" y="2161"/>
                  </a:lnTo>
                  <a:lnTo>
                    <a:pt x="1427" y="2155"/>
                  </a:lnTo>
                  <a:lnTo>
                    <a:pt x="1464" y="2148"/>
                  </a:lnTo>
                  <a:lnTo>
                    <a:pt x="1500" y="2141"/>
                  </a:lnTo>
                  <a:lnTo>
                    <a:pt x="1536" y="2133"/>
                  </a:lnTo>
                  <a:lnTo>
                    <a:pt x="1573" y="2124"/>
                  </a:lnTo>
                  <a:lnTo>
                    <a:pt x="1610" y="2115"/>
                  </a:lnTo>
                  <a:lnTo>
                    <a:pt x="1646" y="2105"/>
                  </a:lnTo>
                  <a:lnTo>
                    <a:pt x="1646" y="1766"/>
                  </a:lnTo>
                  <a:lnTo>
                    <a:pt x="1597" y="1781"/>
                  </a:lnTo>
                  <a:lnTo>
                    <a:pt x="1546" y="1794"/>
                  </a:lnTo>
                  <a:lnTo>
                    <a:pt x="1495" y="1807"/>
                  </a:lnTo>
                  <a:lnTo>
                    <a:pt x="1444" y="1817"/>
                  </a:lnTo>
                  <a:lnTo>
                    <a:pt x="1418" y="1822"/>
                  </a:lnTo>
                  <a:lnTo>
                    <a:pt x="1393" y="1826"/>
                  </a:lnTo>
                  <a:lnTo>
                    <a:pt x="1367" y="1830"/>
                  </a:lnTo>
                  <a:lnTo>
                    <a:pt x="1342" y="1833"/>
                  </a:lnTo>
                  <a:lnTo>
                    <a:pt x="1317" y="1835"/>
                  </a:lnTo>
                  <a:lnTo>
                    <a:pt x="1292" y="1837"/>
                  </a:lnTo>
                  <a:lnTo>
                    <a:pt x="1266" y="1838"/>
                  </a:lnTo>
                  <a:lnTo>
                    <a:pt x="1242" y="1838"/>
                  </a:lnTo>
                  <a:lnTo>
                    <a:pt x="1198" y="1837"/>
                  </a:lnTo>
                  <a:lnTo>
                    <a:pt x="1155" y="1833"/>
                  </a:lnTo>
                  <a:lnTo>
                    <a:pt x="1113" y="1827"/>
                  </a:lnTo>
                  <a:lnTo>
                    <a:pt x="1072" y="1819"/>
                  </a:lnTo>
                  <a:lnTo>
                    <a:pt x="1032" y="1809"/>
                  </a:lnTo>
                  <a:lnTo>
                    <a:pt x="992" y="1796"/>
                  </a:lnTo>
                  <a:lnTo>
                    <a:pt x="954" y="1781"/>
                  </a:lnTo>
                  <a:lnTo>
                    <a:pt x="918" y="1765"/>
                  </a:lnTo>
                  <a:lnTo>
                    <a:pt x="882" y="1746"/>
                  </a:lnTo>
                  <a:lnTo>
                    <a:pt x="848" y="1726"/>
                  </a:lnTo>
                  <a:lnTo>
                    <a:pt x="815" y="1704"/>
                  </a:lnTo>
                  <a:lnTo>
                    <a:pt x="783" y="1680"/>
                  </a:lnTo>
                  <a:lnTo>
                    <a:pt x="753" y="1655"/>
                  </a:lnTo>
                  <a:lnTo>
                    <a:pt x="723" y="1627"/>
                  </a:lnTo>
                  <a:lnTo>
                    <a:pt x="695" y="1599"/>
                  </a:lnTo>
                  <a:lnTo>
                    <a:pt x="668" y="1569"/>
                  </a:lnTo>
                  <a:lnTo>
                    <a:pt x="643" y="1538"/>
                  </a:lnTo>
                  <a:lnTo>
                    <a:pt x="620" y="1506"/>
                  </a:lnTo>
                  <a:lnTo>
                    <a:pt x="597" y="1473"/>
                  </a:lnTo>
                  <a:lnTo>
                    <a:pt x="577" y="1438"/>
                  </a:lnTo>
                  <a:lnTo>
                    <a:pt x="557" y="1403"/>
                  </a:lnTo>
                  <a:lnTo>
                    <a:pt x="539" y="1367"/>
                  </a:lnTo>
                  <a:lnTo>
                    <a:pt x="523" y="1328"/>
                  </a:lnTo>
                  <a:lnTo>
                    <a:pt x="509" y="1290"/>
                  </a:lnTo>
                  <a:lnTo>
                    <a:pt x="496" y="1252"/>
                  </a:lnTo>
                  <a:lnTo>
                    <a:pt x="484" y="1213"/>
                  </a:lnTo>
                  <a:lnTo>
                    <a:pt x="475" y="1173"/>
                  </a:lnTo>
                  <a:lnTo>
                    <a:pt x="467" y="1133"/>
                  </a:lnTo>
                  <a:lnTo>
                    <a:pt x="461" y="1092"/>
                  </a:lnTo>
                  <a:lnTo>
                    <a:pt x="456" y="1050"/>
                  </a:lnTo>
                  <a:lnTo>
                    <a:pt x="453" y="1009"/>
                  </a:lnTo>
                  <a:lnTo>
                    <a:pt x="452" y="967"/>
                  </a:lnTo>
                  <a:lnTo>
                    <a:pt x="1694" y="96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  <a:cs typeface="+mn-cs"/>
              </a:endParaRPr>
            </a:p>
          </p:txBody>
        </p:sp>
        <p:sp>
          <p:nvSpPr>
            <p:cNvPr id="16" name="Freeform 13"/>
            <p:cNvSpPr>
              <a:spLocks/>
            </p:cNvSpPr>
            <p:nvPr/>
          </p:nvSpPr>
          <p:spPr bwMode="gray">
            <a:xfrm>
              <a:off x="2546350" y="2187575"/>
              <a:ext cx="330200" cy="33655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347"/>
                </a:cxn>
                <a:cxn ang="0">
                  <a:pos x="11" y="351"/>
                </a:cxn>
                <a:cxn ang="0">
                  <a:pos x="42" y="363"/>
                </a:cxn>
                <a:cxn ang="0">
                  <a:pos x="91" y="382"/>
                </a:cxn>
                <a:cxn ang="0">
                  <a:pos x="154" y="407"/>
                </a:cxn>
                <a:cxn ang="0">
                  <a:pos x="231" y="437"/>
                </a:cxn>
                <a:cxn ang="0">
                  <a:pos x="316" y="470"/>
                </a:cxn>
                <a:cxn ang="0">
                  <a:pos x="409" y="506"/>
                </a:cxn>
                <a:cxn ang="0">
                  <a:pos x="506" y="543"/>
                </a:cxn>
                <a:cxn ang="0">
                  <a:pos x="605" y="582"/>
                </a:cxn>
                <a:cxn ang="0">
                  <a:pos x="702" y="620"/>
                </a:cxn>
                <a:cxn ang="0">
                  <a:pos x="797" y="656"/>
                </a:cxn>
                <a:cxn ang="0">
                  <a:pos x="884" y="690"/>
                </a:cxn>
                <a:cxn ang="0">
                  <a:pos x="963" y="722"/>
                </a:cxn>
                <a:cxn ang="0">
                  <a:pos x="1031" y="748"/>
                </a:cxn>
                <a:cxn ang="0">
                  <a:pos x="1085" y="768"/>
                </a:cxn>
                <a:cxn ang="0">
                  <a:pos x="1121" y="783"/>
                </a:cxn>
                <a:cxn ang="0">
                  <a:pos x="1085" y="795"/>
                </a:cxn>
                <a:cxn ang="0">
                  <a:pos x="1031" y="815"/>
                </a:cxn>
                <a:cxn ang="0">
                  <a:pos x="963" y="840"/>
                </a:cxn>
                <a:cxn ang="0">
                  <a:pos x="884" y="869"/>
                </a:cxn>
                <a:cxn ang="0">
                  <a:pos x="797" y="903"/>
                </a:cxn>
                <a:cxn ang="0">
                  <a:pos x="702" y="939"/>
                </a:cxn>
                <a:cxn ang="0">
                  <a:pos x="605" y="976"/>
                </a:cxn>
                <a:cxn ang="0">
                  <a:pos x="506" y="1015"/>
                </a:cxn>
                <a:cxn ang="0">
                  <a:pos x="409" y="1052"/>
                </a:cxn>
                <a:cxn ang="0">
                  <a:pos x="316" y="1087"/>
                </a:cxn>
                <a:cxn ang="0">
                  <a:pos x="231" y="1120"/>
                </a:cxn>
                <a:cxn ang="0">
                  <a:pos x="154" y="1150"/>
                </a:cxn>
                <a:cxn ang="0">
                  <a:pos x="91" y="1174"/>
                </a:cxn>
                <a:cxn ang="0">
                  <a:pos x="42" y="1193"/>
                </a:cxn>
                <a:cxn ang="0">
                  <a:pos x="11" y="1205"/>
                </a:cxn>
                <a:cxn ang="0">
                  <a:pos x="0" y="1209"/>
                </a:cxn>
                <a:cxn ang="0">
                  <a:pos x="0" y="1549"/>
                </a:cxn>
                <a:cxn ang="0">
                  <a:pos x="1516" y="935"/>
                </a:cxn>
                <a:cxn ang="0">
                  <a:pos x="1516" y="621"/>
                </a:cxn>
                <a:cxn ang="0">
                  <a:pos x="0" y="0"/>
                </a:cxn>
              </a:cxnLst>
              <a:rect l="0" t="0" r="r" b="b"/>
              <a:pathLst>
                <a:path w="1516" h="1549">
                  <a:moveTo>
                    <a:pt x="0" y="0"/>
                  </a:moveTo>
                  <a:lnTo>
                    <a:pt x="0" y="347"/>
                  </a:lnTo>
                  <a:lnTo>
                    <a:pt x="11" y="351"/>
                  </a:lnTo>
                  <a:lnTo>
                    <a:pt x="42" y="363"/>
                  </a:lnTo>
                  <a:lnTo>
                    <a:pt x="91" y="382"/>
                  </a:lnTo>
                  <a:lnTo>
                    <a:pt x="154" y="407"/>
                  </a:lnTo>
                  <a:lnTo>
                    <a:pt x="231" y="437"/>
                  </a:lnTo>
                  <a:lnTo>
                    <a:pt x="316" y="470"/>
                  </a:lnTo>
                  <a:lnTo>
                    <a:pt x="409" y="506"/>
                  </a:lnTo>
                  <a:lnTo>
                    <a:pt x="506" y="543"/>
                  </a:lnTo>
                  <a:lnTo>
                    <a:pt x="605" y="582"/>
                  </a:lnTo>
                  <a:lnTo>
                    <a:pt x="702" y="620"/>
                  </a:lnTo>
                  <a:lnTo>
                    <a:pt x="797" y="656"/>
                  </a:lnTo>
                  <a:lnTo>
                    <a:pt x="884" y="690"/>
                  </a:lnTo>
                  <a:lnTo>
                    <a:pt x="963" y="722"/>
                  </a:lnTo>
                  <a:lnTo>
                    <a:pt x="1031" y="748"/>
                  </a:lnTo>
                  <a:lnTo>
                    <a:pt x="1085" y="768"/>
                  </a:lnTo>
                  <a:lnTo>
                    <a:pt x="1121" y="783"/>
                  </a:lnTo>
                  <a:lnTo>
                    <a:pt x="1085" y="795"/>
                  </a:lnTo>
                  <a:lnTo>
                    <a:pt x="1031" y="815"/>
                  </a:lnTo>
                  <a:lnTo>
                    <a:pt x="963" y="840"/>
                  </a:lnTo>
                  <a:lnTo>
                    <a:pt x="884" y="869"/>
                  </a:lnTo>
                  <a:lnTo>
                    <a:pt x="797" y="903"/>
                  </a:lnTo>
                  <a:lnTo>
                    <a:pt x="702" y="939"/>
                  </a:lnTo>
                  <a:lnTo>
                    <a:pt x="605" y="976"/>
                  </a:lnTo>
                  <a:lnTo>
                    <a:pt x="506" y="1015"/>
                  </a:lnTo>
                  <a:lnTo>
                    <a:pt x="409" y="1052"/>
                  </a:lnTo>
                  <a:lnTo>
                    <a:pt x="316" y="1087"/>
                  </a:lnTo>
                  <a:lnTo>
                    <a:pt x="231" y="1120"/>
                  </a:lnTo>
                  <a:lnTo>
                    <a:pt x="154" y="1150"/>
                  </a:lnTo>
                  <a:lnTo>
                    <a:pt x="91" y="1174"/>
                  </a:lnTo>
                  <a:lnTo>
                    <a:pt x="42" y="1193"/>
                  </a:lnTo>
                  <a:lnTo>
                    <a:pt x="11" y="1205"/>
                  </a:lnTo>
                  <a:lnTo>
                    <a:pt x="0" y="1209"/>
                  </a:lnTo>
                  <a:lnTo>
                    <a:pt x="0" y="1549"/>
                  </a:lnTo>
                  <a:lnTo>
                    <a:pt x="1516" y="935"/>
                  </a:lnTo>
                  <a:lnTo>
                    <a:pt x="1516" y="62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  <a:cs typeface="+mn-cs"/>
              </a:endParaRPr>
            </a:p>
          </p:txBody>
        </p:sp>
        <p:sp>
          <p:nvSpPr>
            <p:cNvPr id="17" name="Freeform 14"/>
            <p:cNvSpPr>
              <a:spLocks/>
            </p:cNvSpPr>
            <p:nvPr/>
          </p:nvSpPr>
          <p:spPr bwMode="gray">
            <a:xfrm>
              <a:off x="522288" y="3679825"/>
              <a:ext cx="200025" cy="241300"/>
            </a:xfrm>
            <a:custGeom>
              <a:avLst/>
              <a:gdLst/>
              <a:ahLst/>
              <a:cxnLst>
                <a:cxn ang="0">
                  <a:pos x="710" y="1121"/>
                </a:cxn>
                <a:cxn ang="0">
                  <a:pos x="589" y="1121"/>
                </a:cxn>
                <a:cxn ang="0">
                  <a:pos x="685" y="589"/>
                </a:cxn>
                <a:cxn ang="0">
                  <a:pos x="226" y="589"/>
                </a:cxn>
                <a:cxn ang="0">
                  <a:pos x="121" y="1121"/>
                </a:cxn>
                <a:cxn ang="0">
                  <a:pos x="0" y="1121"/>
                </a:cxn>
                <a:cxn ang="0">
                  <a:pos x="218" y="0"/>
                </a:cxn>
                <a:cxn ang="0">
                  <a:pos x="339" y="0"/>
                </a:cxn>
                <a:cxn ang="0">
                  <a:pos x="242" y="484"/>
                </a:cxn>
                <a:cxn ang="0">
                  <a:pos x="710" y="484"/>
                </a:cxn>
                <a:cxn ang="0">
                  <a:pos x="799" y="0"/>
                </a:cxn>
                <a:cxn ang="0">
                  <a:pos x="927" y="0"/>
                </a:cxn>
                <a:cxn ang="0">
                  <a:pos x="710" y="1121"/>
                </a:cxn>
              </a:cxnLst>
              <a:rect l="0" t="0" r="r" b="b"/>
              <a:pathLst>
                <a:path w="927" h="1121">
                  <a:moveTo>
                    <a:pt x="710" y="1121"/>
                  </a:moveTo>
                  <a:lnTo>
                    <a:pt x="589" y="1121"/>
                  </a:lnTo>
                  <a:lnTo>
                    <a:pt x="685" y="589"/>
                  </a:lnTo>
                  <a:lnTo>
                    <a:pt x="226" y="589"/>
                  </a:lnTo>
                  <a:lnTo>
                    <a:pt x="121" y="1121"/>
                  </a:lnTo>
                  <a:lnTo>
                    <a:pt x="0" y="1121"/>
                  </a:lnTo>
                  <a:lnTo>
                    <a:pt x="218" y="0"/>
                  </a:lnTo>
                  <a:lnTo>
                    <a:pt x="339" y="0"/>
                  </a:lnTo>
                  <a:lnTo>
                    <a:pt x="242" y="484"/>
                  </a:lnTo>
                  <a:lnTo>
                    <a:pt x="710" y="484"/>
                  </a:lnTo>
                  <a:lnTo>
                    <a:pt x="799" y="0"/>
                  </a:lnTo>
                  <a:lnTo>
                    <a:pt x="927" y="0"/>
                  </a:lnTo>
                  <a:lnTo>
                    <a:pt x="710" y="112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  <a:cs typeface="+mn-cs"/>
              </a:endParaRPr>
            </a:p>
          </p:txBody>
        </p:sp>
        <p:sp>
          <p:nvSpPr>
            <p:cNvPr id="18" name="Freeform 15"/>
            <p:cNvSpPr>
              <a:spLocks noEditPoints="1"/>
            </p:cNvSpPr>
            <p:nvPr/>
          </p:nvSpPr>
          <p:spPr bwMode="gray">
            <a:xfrm>
              <a:off x="712788" y="3679825"/>
              <a:ext cx="76200" cy="241300"/>
            </a:xfrm>
            <a:custGeom>
              <a:avLst/>
              <a:gdLst/>
              <a:ahLst/>
              <a:cxnLst>
                <a:cxn ang="0">
                  <a:pos x="322" y="145"/>
                </a:cxn>
                <a:cxn ang="0">
                  <a:pos x="178" y="145"/>
                </a:cxn>
                <a:cxn ang="0">
                  <a:pos x="202" y="0"/>
                </a:cxn>
                <a:cxn ang="0">
                  <a:pos x="347" y="0"/>
                </a:cxn>
                <a:cxn ang="0">
                  <a:pos x="322" y="145"/>
                </a:cxn>
                <a:cxn ang="0">
                  <a:pos x="122" y="1121"/>
                </a:cxn>
                <a:cxn ang="0">
                  <a:pos x="0" y="1121"/>
                </a:cxn>
                <a:cxn ang="0">
                  <a:pos x="154" y="347"/>
                </a:cxn>
                <a:cxn ang="0">
                  <a:pos x="266" y="347"/>
                </a:cxn>
                <a:cxn ang="0">
                  <a:pos x="122" y="1121"/>
                </a:cxn>
              </a:cxnLst>
              <a:rect l="0" t="0" r="r" b="b"/>
              <a:pathLst>
                <a:path w="347" h="1121">
                  <a:moveTo>
                    <a:pt x="322" y="145"/>
                  </a:moveTo>
                  <a:lnTo>
                    <a:pt x="178" y="145"/>
                  </a:lnTo>
                  <a:lnTo>
                    <a:pt x="202" y="0"/>
                  </a:lnTo>
                  <a:lnTo>
                    <a:pt x="347" y="0"/>
                  </a:lnTo>
                  <a:lnTo>
                    <a:pt x="322" y="145"/>
                  </a:lnTo>
                  <a:close/>
                  <a:moveTo>
                    <a:pt x="122" y="1121"/>
                  </a:moveTo>
                  <a:lnTo>
                    <a:pt x="0" y="1121"/>
                  </a:lnTo>
                  <a:lnTo>
                    <a:pt x="154" y="347"/>
                  </a:lnTo>
                  <a:lnTo>
                    <a:pt x="266" y="347"/>
                  </a:lnTo>
                  <a:lnTo>
                    <a:pt x="122" y="112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  <a:cs typeface="+mn-cs"/>
              </a:endParaRPr>
            </a:p>
          </p:txBody>
        </p:sp>
        <p:sp>
          <p:nvSpPr>
            <p:cNvPr id="19" name="Freeform 16"/>
            <p:cNvSpPr>
              <a:spLocks noEditPoints="1"/>
            </p:cNvSpPr>
            <p:nvPr/>
          </p:nvSpPr>
          <p:spPr bwMode="gray">
            <a:xfrm>
              <a:off x="760413" y="3751263"/>
              <a:ext cx="161925" cy="239712"/>
            </a:xfrm>
            <a:custGeom>
              <a:avLst/>
              <a:gdLst/>
              <a:ahLst/>
              <a:cxnLst>
                <a:cxn ang="0">
                  <a:pos x="551" y="417"/>
                </a:cxn>
                <a:cxn ang="0">
                  <a:pos x="514" y="532"/>
                </a:cxn>
                <a:cxn ang="0">
                  <a:pos x="474" y="604"/>
                </a:cxn>
                <a:cxn ang="0">
                  <a:pos x="420" y="660"/>
                </a:cxn>
                <a:cxn ang="0">
                  <a:pos x="353" y="690"/>
                </a:cxn>
                <a:cxn ang="0">
                  <a:pos x="297" y="690"/>
                </a:cxn>
                <a:cxn ang="0">
                  <a:pos x="264" y="674"/>
                </a:cxn>
                <a:cxn ang="0">
                  <a:pos x="237" y="641"/>
                </a:cxn>
                <a:cxn ang="0">
                  <a:pos x="214" y="568"/>
                </a:cxn>
                <a:cxn ang="0">
                  <a:pos x="211" y="484"/>
                </a:cxn>
                <a:cxn ang="0">
                  <a:pos x="236" y="322"/>
                </a:cxn>
                <a:cxn ang="0">
                  <a:pos x="279" y="205"/>
                </a:cxn>
                <a:cxn ang="0">
                  <a:pos x="325" y="137"/>
                </a:cxn>
                <a:cxn ang="0">
                  <a:pos x="384" y="96"/>
                </a:cxn>
                <a:cxn ang="0">
                  <a:pos x="447" y="90"/>
                </a:cxn>
                <a:cxn ang="0">
                  <a:pos x="486" y="104"/>
                </a:cxn>
                <a:cxn ang="0">
                  <a:pos x="517" y="131"/>
                </a:cxn>
                <a:cxn ang="0">
                  <a:pos x="554" y="211"/>
                </a:cxn>
                <a:cxn ang="0">
                  <a:pos x="564" y="298"/>
                </a:cxn>
                <a:cxn ang="0">
                  <a:pos x="600" y="122"/>
                </a:cxn>
                <a:cxn ang="0">
                  <a:pos x="559" y="58"/>
                </a:cxn>
                <a:cxn ang="0">
                  <a:pos x="497" y="15"/>
                </a:cxn>
                <a:cxn ang="0">
                  <a:pos x="420" y="0"/>
                </a:cxn>
                <a:cxn ang="0">
                  <a:pos x="316" y="22"/>
                </a:cxn>
                <a:cxn ang="0">
                  <a:pos x="234" y="80"/>
                </a:cxn>
                <a:cxn ang="0">
                  <a:pos x="170" y="166"/>
                </a:cxn>
                <a:cxn ang="0">
                  <a:pos x="124" y="268"/>
                </a:cxn>
                <a:cxn ang="0">
                  <a:pos x="95" y="375"/>
                </a:cxn>
                <a:cxn ang="0">
                  <a:pos x="81" y="479"/>
                </a:cxn>
                <a:cxn ang="0">
                  <a:pos x="86" y="586"/>
                </a:cxn>
                <a:cxn ang="0">
                  <a:pos x="112" y="677"/>
                </a:cxn>
                <a:cxn ang="0">
                  <a:pos x="142" y="727"/>
                </a:cxn>
                <a:cxn ang="0">
                  <a:pos x="183" y="765"/>
                </a:cxn>
                <a:cxn ang="0">
                  <a:pos x="236" y="787"/>
                </a:cxn>
                <a:cxn ang="0">
                  <a:pos x="312" y="788"/>
                </a:cxn>
                <a:cxn ang="0">
                  <a:pos x="394" y="761"/>
                </a:cxn>
                <a:cxn ang="0">
                  <a:pos x="463" y="708"/>
                </a:cxn>
                <a:cxn ang="0">
                  <a:pos x="494" y="731"/>
                </a:cxn>
                <a:cxn ang="0">
                  <a:pos x="453" y="888"/>
                </a:cxn>
                <a:cxn ang="0">
                  <a:pos x="414" y="944"/>
                </a:cxn>
                <a:cxn ang="0">
                  <a:pos x="356" y="983"/>
                </a:cxn>
                <a:cxn ang="0">
                  <a:pos x="270" y="1005"/>
                </a:cxn>
                <a:cxn ang="0">
                  <a:pos x="155" y="1006"/>
                </a:cxn>
                <a:cxn ang="0">
                  <a:pos x="45" y="976"/>
                </a:cxn>
                <a:cxn ang="0">
                  <a:pos x="78" y="1092"/>
                </a:cxn>
                <a:cxn ang="0">
                  <a:pos x="202" y="1105"/>
                </a:cxn>
                <a:cxn ang="0">
                  <a:pos x="303" y="1098"/>
                </a:cxn>
                <a:cxn ang="0">
                  <a:pos x="388" y="1078"/>
                </a:cxn>
                <a:cxn ang="0">
                  <a:pos x="460" y="1042"/>
                </a:cxn>
                <a:cxn ang="0">
                  <a:pos x="516" y="989"/>
                </a:cxn>
                <a:cxn ang="0">
                  <a:pos x="558" y="919"/>
                </a:cxn>
                <a:cxn ang="0">
                  <a:pos x="588" y="831"/>
                </a:cxn>
              </a:cxnLst>
              <a:rect l="0" t="0" r="r" b="b"/>
              <a:pathLst>
                <a:path w="750" h="1105">
                  <a:moveTo>
                    <a:pt x="564" y="298"/>
                  </a:moveTo>
                  <a:lnTo>
                    <a:pt x="564" y="325"/>
                  </a:lnTo>
                  <a:lnTo>
                    <a:pt x="561" y="354"/>
                  </a:lnTo>
                  <a:lnTo>
                    <a:pt x="557" y="385"/>
                  </a:lnTo>
                  <a:lnTo>
                    <a:pt x="551" y="417"/>
                  </a:lnTo>
                  <a:lnTo>
                    <a:pt x="543" y="451"/>
                  </a:lnTo>
                  <a:lnTo>
                    <a:pt x="533" y="484"/>
                  </a:lnTo>
                  <a:lnTo>
                    <a:pt x="527" y="500"/>
                  </a:lnTo>
                  <a:lnTo>
                    <a:pt x="521" y="516"/>
                  </a:lnTo>
                  <a:lnTo>
                    <a:pt x="514" y="532"/>
                  </a:lnTo>
                  <a:lnTo>
                    <a:pt x="507" y="547"/>
                  </a:lnTo>
                  <a:lnTo>
                    <a:pt x="500" y="562"/>
                  </a:lnTo>
                  <a:lnTo>
                    <a:pt x="491" y="577"/>
                  </a:lnTo>
                  <a:lnTo>
                    <a:pt x="483" y="591"/>
                  </a:lnTo>
                  <a:lnTo>
                    <a:pt x="474" y="604"/>
                  </a:lnTo>
                  <a:lnTo>
                    <a:pt x="464" y="617"/>
                  </a:lnTo>
                  <a:lnTo>
                    <a:pt x="454" y="629"/>
                  </a:lnTo>
                  <a:lnTo>
                    <a:pt x="443" y="640"/>
                  </a:lnTo>
                  <a:lnTo>
                    <a:pt x="432" y="651"/>
                  </a:lnTo>
                  <a:lnTo>
                    <a:pt x="420" y="660"/>
                  </a:lnTo>
                  <a:lnTo>
                    <a:pt x="407" y="668"/>
                  </a:lnTo>
                  <a:lnTo>
                    <a:pt x="394" y="676"/>
                  </a:lnTo>
                  <a:lnTo>
                    <a:pt x="381" y="682"/>
                  </a:lnTo>
                  <a:lnTo>
                    <a:pt x="367" y="687"/>
                  </a:lnTo>
                  <a:lnTo>
                    <a:pt x="353" y="690"/>
                  </a:lnTo>
                  <a:lnTo>
                    <a:pt x="338" y="692"/>
                  </a:lnTo>
                  <a:lnTo>
                    <a:pt x="322" y="693"/>
                  </a:lnTo>
                  <a:lnTo>
                    <a:pt x="314" y="693"/>
                  </a:lnTo>
                  <a:lnTo>
                    <a:pt x="305" y="692"/>
                  </a:lnTo>
                  <a:lnTo>
                    <a:pt x="297" y="690"/>
                  </a:lnTo>
                  <a:lnTo>
                    <a:pt x="290" y="688"/>
                  </a:lnTo>
                  <a:lnTo>
                    <a:pt x="283" y="685"/>
                  </a:lnTo>
                  <a:lnTo>
                    <a:pt x="276" y="682"/>
                  </a:lnTo>
                  <a:lnTo>
                    <a:pt x="270" y="678"/>
                  </a:lnTo>
                  <a:lnTo>
                    <a:pt x="264" y="674"/>
                  </a:lnTo>
                  <a:lnTo>
                    <a:pt x="259" y="670"/>
                  </a:lnTo>
                  <a:lnTo>
                    <a:pt x="254" y="665"/>
                  </a:lnTo>
                  <a:lnTo>
                    <a:pt x="249" y="659"/>
                  </a:lnTo>
                  <a:lnTo>
                    <a:pt x="244" y="654"/>
                  </a:lnTo>
                  <a:lnTo>
                    <a:pt x="237" y="641"/>
                  </a:lnTo>
                  <a:lnTo>
                    <a:pt x="230" y="628"/>
                  </a:lnTo>
                  <a:lnTo>
                    <a:pt x="224" y="613"/>
                  </a:lnTo>
                  <a:lnTo>
                    <a:pt x="220" y="598"/>
                  </a:lnTo>
                  <a:lnTo>
                    <a:pt x="217" y="583"/>
                  </a:lnTo>
                  <a:lnTo>
                    <a:pt x="214" y="568"/>
                  </a:lnTo>
                  <a:lnTo>
                    <a:pt x="212" y="552"/>
                  </a:lnTo>
                  <a:lnTo>
                    <a:pt x="211" y="537"/>
                  </a:lnTo>
                  <a:lnTo>
                    <a:pt x="210" y="522"/>
                  </a:lnTo>
                  <a:lnTo>
                    <a:pt x="210" y="508"/>
                  </a:lnTo>
                  <a:lnTo>
                    <a:pt x="211" y="484"/>
                  </a:lnTo>
                  <a:lnTo>
                    <a:pt x="213" y="456"/>
                  </a:lnTo>
                  <a:lnTo>
                    <a:pt x="216" y="424"/>
                  </a:lnTo>
                  <a:lnTo>
                    <a:pt x="221" y="391"/>
                  </a:lnTo>
                  <a:lnTo>
                    <a:pt x="228" y="357"/>
                  </a:lnTo>
                  <a:lnTo>
                    <a:pt x="236" y="322"/>
                  </a:lnTo>
                  <a:lnTo>
                    <a:pt x="246" y="287"/>
                  </a:lnTo>
                  <a:lnTo>
                    <a:pt x="258" y="253"/>
                  </a:lnTo>
                  <a:lnTo>
                    <a:pt x="265" y="236"/>
                  </a:lnTo>
                  <a:lnTo>
                    <a:pt x="272" y="220"/>
                  </a:lnTo>
                  <a:lnTo>
                    <a:pt x="279" y="205"/>
                  </a:lnTo>
                  <a:lnTo>
                    <a:pt x="288" y="190"/>
                  </a:lnTo>
                  <a:lnTo>
                    <a:pt x="296" y="175"/>
                  </a:lnTo>
                  <a:lnTo>
                    <a:pt x="305" y="162"/>
                  </a:lnTo>
                  <a:lnTo>
                    <a:pt x="315" y="148"/>
                  </a:lnTo>
                  <a:lnTo>
                    <a:pt x="325" y="137"/>
                  </a:lnTo>
                  <a:lnTo>
                    <a:pt x="336" y="126"/>
                  </a:lnTo>
                  <a:lnTo>
                    <a:pt x="347" y="117"/>
                  </a:lnTo>
                  <a:lnTo>
                    <a:pt x="359" y="108"/>
                  </a:lnTo>
                  <a:lnTo>
                    <a:pt x="371" y="101"/>
                  </a:lnTo>
                  <a:lnTo>
                    <a:pt x="384" y="96"/>
                  </a:lnTo>
                  <a:lnTo>
                    <a:pt x="398" y="92"/>
                  </a:lnTo>
                  <a:lnTo>
                    <a:pt x="412" y="89"/>
                  </a:lnTo>
                  <a:lnTo>
                    <a:pt x="428" y="88"/>
                  </a:lnTo>
                  <a:lnTo>
                    <a:pt x="437" y="89"/>
                  </a:lnTo>
                  <a:lnTo>
                    <a:pt x="447" y="90"/>
                  </a:lnTo>
                  <a:lnTo>
                    <a:pt x="455" y="91"/>
                  </a:lnTo>
                  <a:lnTo>
                    <a:pt x="464" y="94"/>
                  </a:lnTo>
                  <a:lnTo>
                    <a:pt x="472" y="97"/>
                  </a:lnTo>
                  <a:lnTo>
                    <a:pt x="479" y="100"/>
                  </a:lnTo>
                  <a:lnTo>
                    <a:pt x="486" y="104"/>
                  </a:lnTo>
                  <a:lnTo>
                    <a:pt x="493" y="108"/>
                  </a:lnTo>
                  <a:lnTo>
                    <a:pt x="500" y="114"/>
                  </a:lnTo>
                  <a:lnTo>
                    <a:pt x="506" y="119"/>
                  </a:lnTo>
                  <a:lnTo>
                    <a:pt x="512" y="125"/>
                  </a:lnTo>
                  <a:lnTo>
                    <a:pt x="517" y="131"/>
                  </a:lnTo>
                  <a:lnTo>
                    <a:pt x="527" y="145"/>
                  </a:lnTo>
                  <a:lnTo>
                    <a:pt x="535" y="161"/>
                  </a:lnTo>
                  <a:lnTo>
                    <a:pt x="543" y="177"/>
                  </a:lnTo>
                  <a:lnTo>
                    <a:pt x="549" y="193"/>
                  </a:lnTo>
                  <a:lnTo>
                    <a:pt x="554" y="211"/>
                  </a:lnTo>
                  <a:lnTo>
                    <a:pt x="558" y="228"/>
                  </a:lnTo>
                  <a:lnTo>
                    <a:pt x="561" y="246"/>
                  </a:lnTo>
                  <a:lnTo>
                    <a:pt x="563" y="264"/>
                  </a:lnTo>
                  <a:lnTo>
                    <a:pt x="564" y="281"/>
                  </a:lnTo>
                  <a:lnTo>
                    <a:pt x="564" y="298"/>
                  </a:lnTo>
                  <a:close/>
                  <a:moveTo>
                    <a:pt x="750" y="16"/>
                  </a:moveTo>
                  <a:lnTo>
                    <a:pt x="629" y="16"/>
                  </a:lnTo>
                  <a:lnTo>
                    <a:pt x="613" y="136"/>
                  </a:lnTo>
                  <a:lnTo>
                    <a:pt x="605" y="136"/>
                  </a:lnTo>
                  <a:lnTo>
                    <a:pt x="600" y="122"/>
                  </a:lnTo>
                  <a:lnTo>
                    <a:pt x="593" y="108"/>
                  </a:lnTo>
                  <a:lnTo>
                    <a:pt x="586" y="94"/>
                  </a:lnTo>
                  <a:lnTo>
                    <a:pt x="578" y="81"/>
                  </a:lnTo>
                  <a:lnTo>
                    <a:pt x="569" y="69"/>
                  </a:lnTo>
                  <a:lnTo>
                    <a:pt x="559" y="58"/>
                  </a:lnTo>
                  <a:lnTo>
                    <a:pt x="548" y="48"/>
                  </a:lnTo>
                  <a:lnTo>
                    <a:pt x="536" y="38"/>
                  </a:lnTo>
                  <a:lnTo>
                    <a:pt x="524" y="30"/>
                  </a:lnTo>
                  <a:lnTo>
                    <a:pt x="511" y="22"/>
                  </a:lnTo>
                  <a:lnTo>
                    <a:pt x="497" y="15"/>
                  </a:lnTo>
                  <a:lnTo>
                    <a:pt x="483" y="10"/>
                  </a:lnTo>
                  <a:lnTo>
                    <a:pt x="468" y="6"/>
                  </a:lnTo>
                  <a:lnTo>
                    <a:pt x="452" y="2"/>
                  </a:lnTo>
                  <a:lnTo>
                    <a:pt x="436" y="1"/>
                  </a:lnTo>
                  <a:lnTo>
                    <a:pt x="420" y="0"/>
                  </a:lnTo>
                  <a:lnTo>
                    <a:pt x="397" y="1"/>
                  </a:lnTo>
                  <a:lnTo>
                    <a:pt x="375" y="4"/>
                  </a:lnTo>
                  <a:lnTo>
                    <a:pt x="355" y="8"/>
                  </a:lnTo>
                  <a:lnTo>
                    <a:pt x="335" y="14"/>
                  </a:lnTo>
                  <a:lnTo>
                    <a:pt x="316" y="22"/>
                  </a:lnTo>
                  <a:lnTo>
                    <a:pt x="298" y="31"/>
                  </a:lnTo>
                  <a:lnTo>
                    <a:pt x="281" y="41"/>
                  </a:lnTo>
                  <a:lnTo>
                    <a:pt x="264" y="53"/>
                  </a:lnTo>
                  <a:lnTo>
                    <a:pt x="249" y="66"/>
                  </a:lnTo>
                  <a:lnTo>
                    <a:pt x="234" y="80"/>
                  </a:lnTo>
                  <a:lnTo>
                    <a:pt x="219" y="96"/>
                  </a:lnTo>
                  <a:lnTo>
                    <a:pt x="206" y="112"/>
                  </a:lnTo>
                  <a:lnTo>
                    <a:pt x="193" y="129"/>
                  </a:lnTo>
                  <a:lnTo>
                    <a:pt x="181" y="147"/>
                  </a:lnTo>
                  <a:lnTo>
                    <a:pt x="170" y="166"/>
                  </a:lnTo>
                  <a:lnTo>
                    <a:pt x="160" y="186"/>
                  </a:lnTo>
                  <a:lnTo>
                    <a:pt x="150" y="206"/>
                  </a:lnTo>
                  <a:lnTo>
                    <a:pt x="140" y="226"/>
                  </a:lnTo>
                  <a:lnTo>
                    <a:pt x="131" y="247"/>
                  </a:lnTo>
                  <a:lnTo>
                    <a:pt x="124" y="268"/>
                  </a:lnTo>
                  <a:lnTo>
                    <a:pt x="116" y="289"/>
                  </a:lnTo>
                  <a:lnTo>
                    <a:pt x="110" y="310"/>
                  </a:lnTo>
                  <a:lnTo>
                    <a:pt x="104" y="332"/>
                  </a:lnTo>
                  <a:lnTo>
                    <a:pt x="99" y="353"/>
                  </a:lnTo>
                  <a:lnTo>
                    <a:pt x="95" y="375"/>
                  </a:lnTo>
                  <a:lnTo>
                    <a:pt x="91" y="396"/>
                  </a:lnTo>
                  <a:lnTo>
                    <a:pt x="87" y="417"/>
                  </a:lnTo>
                  <a:lnTo>
                    <a:pt x="85" y="438"/>
                  </a:lnTo>
                  <a:lnTo>
                    <a:pt x="83" y="459"/>
                  </a:lnTo>
                  <a:lnTo>
                    <a:pt x="81" y="479"/>
                  </a:lnTo>
                  <a:lnTo>
                    <a:pt x="81" y="498"/>
                  </a:lnTo>
                  <a:lnTo>
                    <a:pt x="80" y="516"/>
                  </a:lnTo>
                  <a:lnTo>
                    <a:pt x="81" y="539"/>
                  </a:lnTo>
                  <a:lnTo>
                    <a:pt x="83" y="563"/>
                  </a:lnTo>
                  <a:lnTo>
                    <a:pt x="86" y="586"/>
                  </a:lnTo>
                  <a:lnTo>
                    <a:pt x="90" y="610"/>
                  </a:lnTo>
                  <a:lnTo>
                    <a:pt x="96" y="633"/>
                  </a:lnTo>
                  <a:lnTo>
                    <a:pt x="103" y="656"/>
                  </a:lnTo>
                  <a:lnTo>
                    <a:pt x="107" y="667"/>
                  </a:lnTo>
                  <a:lnTo>
                    <a:pt x="112" y="677"/>
                  </a:lnTo>
                  <a:lnTo>
                    <a:pt x="117" y="688"/>
                  </a:lnTo>
                  <a:lnTo>
                    <a:pt x="122" y="698"/>
                  </a:lnTo>
                  <a:lnTo>
                    <a:pt x="128" y="708"/>
                  </a:lnTo>
                  <a:lnTo>
                    <a:pt x="135" y="717"/>
                  </a:lnTo>
                  <a:lnTo>
                    <a:pt x="142" y="727"/>
                  </a:lnTo>
                  <a:lnTo>
                    <a:pt x="150" y="736"/>
                  </a:lnTo>
                  <a:lnTo>
                    <a:pt x="157" y="744"/>
                  </a:lnTo>
                  <a:lnTo>
                    <a:pt x="165" y="751"/>
                  </a:lnTo>
                  <a:lnTo>
                    <a:pt x="174" y="758"/>
                  </a:lnTo>
                  <a:lnTo>
                    <a:pt x="183" y="765"/>
                  </a:lnTo>
                  <a:lnTo>
                    <a:pt x="193" y="770"/>
                  </a:lnTo>
                  <a:lnTo>
                    <a:pt x="203" y="776"/>
                  </a:lnTo>
                  <a:lnTo>
                    <a:pt x="213" y="780"/>
                  </a:lnTo>
                  <a:lnTo>
                    <a:pt x="224" y="784"/>
                  </a:lnTo>
                  <a:lnTo>
                    <a:pt x="236" y="787"/>
                  </a:lnTo>
                  <a:lnTo>
                    <a:pt x="248" y="789"/>
                  </a:lnTo>
                  <a:lnTo>
                    <a:pt x="261" y="790"/>
                  </a:lnTo>
                  <a:lnTo>
                    <a:pt x="274" y="790"/>
                  </a:lnTo>
                  <a:lnTo>
                    <a:pt x="293" y="790"/>
                  </a:lnTo>
                  <a:lnTo>
                    <a:pt x="312" y="788"/>
                  </a:lnTo>
                  <a:lnTo>
                    <a:pt x="330" y="785"/>
                  </a:lnTo>
                  <a:lnTo>
                    <a:pt x="347" y="780"/>
                  </a:lnTo>
                  <a:lnTo>
                    <a:pt x="363" y="775"/>
                  </a:lnTo>
                  <a:lnTo>
                    <a:pt x="379" y="768"/>
                  </a:lnTo>
                  <a:lnTo>
                    <a:pt x="394" y="761"/>
                  </a:lnTo>
                  <a:lnTo>
                    <a:pt x="409" y="752"/>
                  </a:lnTo>
                  <a:lnTo>
                    <a:pt x="424" y="743"/>
                  </a:lnTo>
                  <a:lnTo>
                    <a:pt x="437" y="732"/>
                  </a:lnTo>
                  <a:lnTo>
                    <a:pt x="450" y="721"/>
                  </a:lnTo>
                  <a:lnTo>
                    <a:pt x="463" y="708"/>
                  </a:lnTo>
                  <a:lnTo>
                    <a:pt x="475" y="695"/>
                  </a:lnTo>
                  <a:lnTo>
                    <a:pt x="486" y="682"/>
                  </a:lnTo>
                  <a:lnTo>
                    <a:pt x="497" y="668"/>
                  </a:lnTo>
                  <a:lnTo>
                    <a:pt x="508" y="653"/>
                  </a:lnTo>
                  <a:lnTo>
                    <a:pt x="494" y="731"/>
                  </a:lnTo>
                  <a:lnTo>
                    <a:pt x="481" y="801"/>
                  </a:lnTo>
                  <a:lnTo>
                    <a:pt x="473" y="832"/>
                  </a:lnTo>
                  <a:lnTo>
                    <a:pt x="464" y="861"/>
                  </a:lnTo>
                  <a:lnTo>
                    <a:pt x="459" y="875"/>
                  </a:lnTo>
                  <a:lnTo>
                    <a:pt x="453" y="888"/>
                  </a:lnTo>
                  <a:lnTo>
                    <a:pt x="447" y="900"/>
                  </a:lnTo>
                  <a:lnTo>
                    <a:pt x="440" y="912"/>
                  </a:lnTo>
                  <a:lnTo>
                    <a:pt x="432" y="923"/>
                  </a:lnTo>
                  <a:lnTo>
                    <a:pt x="424" y="934"/>
                  </a:lnTo>
                  <a:lnTo>
                    <a:pt x="414" y="944"/>
                  </a:lnTo>
                  <a:lnTo>
                    <a:pt x="404" y="953"/>
                  </a:lnTo>
                  <a:lnTo>
                    <a:pt x="394" y="961"/>
                  </a:lnTo>
                  <a:lnTo>
                    <a:pt x="382" y="969"/>
                  </a:lnTo>
                  <a:lnTo>
                    <a:pt x="369" y="976"/>
                  </a:lnTo>
                  <a:lnTo>
                    <a:pt x="356" y="983"/>
                  </a:lnTo>
                  <a:lnTo>
                    <a:pt x="341" y="988"/>
                  </a:lnTo>
                  <a:lnTo>
                    <a:pt x="325" y="993"/>
                  </a:lnTo>
                  <a:lnTo>
                    <a:pt x="308" y="999"/>
                  </a:lnTo>
                  <a:lnTo>
                    <a:pt x="289" y="1002"/>
                  </a:lnTo>
                  <a:lnTo>
                    <a:pt x="270" y="1005"/>
                  </a:lnTo>
                  <a:lnTo>
                    <a:pt x="248" y="1007"/>
                  </a:lnTo>
                  <a:lnTo>
                    <a:pt x="226" y="1008"/>
                  </a:lnTo>
                  <a:lnTo>
                    <a:pt x="202" y="1008"/>
                  </a:lnTo>
                  <a:lnTo>
                    <a:pt x="178" y="1008"/>
                  </a:lnTo>
                  <a:lnTo>
                    <a:pt x="155" y="1006"/>
                  </a:lnTo>
                  <a:lnTo>
                    <a:pt x="131" y="1002"/>
                  </a:lnTo>
                  <a:lnTo>
                    <a:pt x="109" y="996"/>
                  </a:lnTo>
                  <a:lnTo>
                    <a:pt x="88" y="991"/>
                  </a:lnTo>
                  <a:lnTo>
                    <a:pt x="66" y="984"/>
                  </a:lnTo>
                  <a:lnTo>
                    <a:pt x="45" y="976"/>
                  </a:lnTo>
                  <a:lnTo>
                    <a:pt x="24" y="967"/>
                  </a:lnTo>
                  <a:lnTo>
                    <a:pt x="0" y="1081"/>
                  </a:lnTo>
                  <a:lnTo>
                    <a:pt x="27" y="1084"/>
                  </a:lnTo>
                  <a:lnTo>
                    <a:pt x="53" y="1088"/>
                  </a:lnTo>
                  <a:lnTo>
                    <a:pt x="78" y="1092"/>
                  </a:lnTo>
                  <a:lnTo>
                    <a:pt x="103" y="1096"/>
                  </a:lnTo>
                  <a:lnTo>
                    <a:pt x="128" y="1099"/>
                  </a:lnTo>
                  <a:lnTo>
                    <a:pt x="154" y="1102"/>
                  </a:lnTo>
                  <a:lnTo>
                    <a:pt x="178" y="1104"/>
                  </a:lnTo>
                  <a:lnTo>
                    <a:pt x="202" y="1105"/>
                  </a:lnTo>
                  <a:lnTo>
                    <a:pt x="223" y="1105"/>
                  </a:lnTo>
                  <a:lnTo>
                    <a:pt x="244" y="1104"/>
                  </a:lnTo>
                  <a:lnTo>
                    <a:pt x="264" y="1103"/>
                  </a:lnTo>
                  <a:lnTo>
                    <a:pt x="284" y="1101"/>
                  </a:lnTo>
                  <a:lnTo>
                    <a:pt x="303" y="1098"/>
                  </a:lnTo>
                  <a:lnTo>
                    <a:pt x="321" y="1095"/>
                  </a:lnTo>
                  <a:lnTo>
                    <a:pt x="339" y="1092"/>
                  </a:lnTo>
                  <a:lnTo>
                    <a:pt x="356" y="1088"/>
                  </a:lnTo>
                  <a:lnTo>
                    <a:pt x="372" y="1083"/>
                  </a:lnTo>
                  <a:lnTo>
                    <a:pt x="388" y="1078"/>
                  </a:lnTo>
                  <a:lnTo>
                    <a:pt x="404" y="1072"/>
                  </a:lnTo>
                  <a:lnTo>
                    <a:pt x="419" y="1065"/>
                  </a:lnTo>
                  <a:lnTo>
                    <a:pt x="433" y="1058"/>
                  </a:lnTo>
                  <a:lnTo>
                    <a:pt x="447" y="1050"/>
                  </a:lnTo>
                  <a:lnTo>
                    <a:pt x="460" y="1042"/>
                  </a:lnTo>
                  <a:lnTo>
                    <a:pt x="472" y="1033"/>
                  </a:lnTo>
                  <a:lnTo>
                    <a:pt x="484" y="1023"/>
                  </a:lnTo>
                  <a:lnTo>
                    <a:pt x="495" y="1012"/>
                  </a:lnTo>
                  <a:lnTo>
                    <a:pt x="506" y="1001"/>
                  </a:lnTo>
                  <a:lnTo>
                    <a:pt x="516" y="989"/>
                  </a:lnTo>
                  <a:lnTo>
                    <a:pt x="525" y="976"/>
                  </a:lnTo>
                  <a:lnTo>
                    <a:pt x="534" y="963"/>
                  </a:lnTo>
                  <a:lnTo>
                    <a:pt x="543" y="949"/>
                  </a:lnTo>
                  <a:lnTo>
                    <a:pt x="551" y="934"/>
                  </a:lnTo>
                  <a:lnTo>
                    <a:pt x="558" y="919"/>
                  </a:lnTo>
                  <a:lnTo>
                    <a:pt x="565" y="903"/>
                  </a:lnTo>
                  <a:lnTo>
                    <a:pt x="572" y="886"/>
                  </a:lnTo>
                  <a:lnTo>
                    <a:pt x="578" y="869"/>
                  </a:lnTo>
                  <a:lnTo>
                    <a:pt x="583" y="850"/>
                  </a:lnTo>
                  <a:lnTo>
                    <a:pt x="588" y="831"/>
                  </a:lnTo>
                  <a:lnTo>
                    <a:pt x="593" y="811"/>
                  </a:lnTo>
                  <a:lnTo>
                    <a:pt x="597" y="790"/>
                  </a:lnTo>
                  <a:lnTo>
                    <a:pt x="750" y="1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  <a:cs typeface="+mn-cs"/>
              </a:endParaRPr>
            </a:p>
          </p:txBody>
        </p:sp>
        <p:sp>
          <p:nvSpPr>
            <p:cNvPr id="20" name="Freeform 17"/>
            <p:cNvSpPr>
              <a:spLocks/>
            </p:cNvSpPr>
            <p:nvPr/>
          </p:nvSpPr>
          <p:spPr bwMode="gray">
            <a:xfrm>
              <a:off x="923925" y="3679825"/>
              <a:ext cx="142875" cy="241300"/>
            </a:xfrm>
            <a:custGeom>
              <a:avLst/>
              <a:gdLst/>
              <a:ahLst/>
              <a:cxnLst>
                <a:cxn ang="0">
                  <a:pos x="549" y="1121"/>
                </a:cxn>
                <a:cxn ang="0">
                  <a:pos x="525" y="661"/>
                </a:cxn>
                <a:cxn ang="0">
                  <a:pos x="536" y="594"/>
                </a:cxn>
                <a:cxn ang="0">
                  <a:pos x="539" y="563"/>
                </a:cxn>
                <a:cxn ang="0">
                  <a:pos x="541" y="533"/>
                </a:cxn>
                <a:cxn ang="0">
                  <a:pos x="539" y="513"/>
                </a:cxn>
                <a:cxn ang="0">
                  <a:pos x="535" y="494"/>
                </a:cxn>
                <a:cxn ang="0">
                  <a:pos x="528" y="477"/>
                </a:cxn>
                <a:cxn ang="0">
                  <a:pos x="518" y="462"/>
                </a:cxn>
                <a:cxn ang="0">
                  <a:pos x="505" y="451"/>
                </a:cxn>
                <a:cxn ang="0">
                  <a:pos x="489" y="442"/>
                </a:cxn>
                <a:cxn ang="0">
                  <a:pos x="471" y="437"/>
                </a:cxn>
                <a:cxn ang="0">
                  <a:pos x="451" y="435"/>
                </a:cxn>
                <a:cxn ang="0">
                  <a:pos x="419" y="439"/>
                </a:cxn>
                <a:cxn ang="0">
                  <a:pos x="389" y="448"/>
                </a:cxn>
                <a:cxn ang="0">
                  <a:pos x="361" y="463"/>
                </a:cxn>
                <a:cxn ang="0">
                  <a:pos x="335" y="483"/>
                </a:cxn>
                <a:cxn ang="0">
                  <a:pos x="311" y="507"/>
                </a:cxn>
                <a:cxn ang="0">
                  <a:pos x="288" y="535"/>
                </a:cxn>
                <a:cxn ang="0">
                  <a:pos x="268" y="565"/>
                </a:cxn>
                <a:cxn ang="0">
                  <a:pos x="249" y="597"/>
                </a:cxn>
                <a:cxn ang="0">
                  <a:pos x="218" y="666"/>
                </a:cxn>
                <a:cxn ang="0">
                  <a:pos x="192" y="735"/>
                </a:cxn>
                <a:cxn ang="0">
                  <a:pos x="173" y="800"/>
                </a:cxn>
                <a:cxn ang="0">
                  <a:pos x="161" y="855"/>
                </a:cxn>
                <a:cxn ang="0">
                  <a:pos x="0" y="1121"/>
                </a:cxn>
                <a:cxn ang="0">
                  <a:pos x="331" y="0"/>
                </a:cxn>
                <a:cxn ang="0">
                  <a:pos x="234" y="509"/>
                </a:cxn>
                <a:cxn ang="0">
                  <a:pos x="261" y="470"/>
                </a:cxn>
                <a:cxn ang="0">
                  <a:pos x="288" y="436"/>
                </a:cxn>
                <a:cxn ang="0">
                  <a:pos x="317" y="406"/>
                </a:cxn>
                <a:cxn ang="0">
                  <a:pos x="347" y="380"/>
                </a:cxn>
                <a:cxn ang="0">
                  <a:pos x="380" y="359"/>
                </a:cxn>
                <a:cxn ang="0">
                  <a:pos x="417" y="344"/>
                </a:cxn>
                <a:cxn ang="0">
                  <a:pos x="460" y="334"/>
                </a:cxn>
                <a:cxn ang="0">
                  <a:pos x="509" y="331"/>
                </a:cxn>
                <a:cxn ang="0">
                  <a:pos x="543" y="334"/>
                </a:cxn>
                <a:cxn ang="0">
                  <a:pos x="573" y="345"/>
                </a:cxn>
                <a:cxn ang="0">
                  <a:pos x="599" y="361"/>
                </a:cxn>
                <a:cxn ang="0">
                  <a:pos x="621" y="382"/>
                </a:cxn>
                <a:cxn ang="0">
                  <a:pos x="638" y="407"/>
                </a:cxn>
                <a:cxn ang="0">
                  <a:pos x="651" y="436"/>
                </a:cxn>
                <a:cxn ang="0">
                  <a:pos x="659" y="467"/>
                </a:cxn>
                <a:cxn ang="0">
                  <a:pos x="661" y="501"/>
                </a:cxn>
                <a:cxn ang="0">
                  <a:pos x="660" y="531"/>
                </a:cxn>
                <a:cxn ang="0">
                  <a:pos x="656" y="561"/>
                </a:cxn>
                <a:cxn ang="0">
                  <a:pos x="645" y="621"/>
                </a:cxn>
              </a:cxnLst>
              <a:rect l="0" t="0" r="r" b="b"/>
              <a:pathLst>
                <a:path w="661" h="1121">
                  <a:moveTo>
                    <a:pt x="645" y="621"/>
                  </a:moveTo>
                  <a:lnTo>
                    <a:pt x="549" y="1121"/>
                  </a:lnTo>
                  <a:lnTo>
                    <a:pt x="435" y="1121"/>
                  </a:lnTo>
                  <a:lnTo>
                    <a:pt x="525" y="661"/>
                  </a:lnTo>
                  <a:lnTo>
                    <a:pt x="531" y="627"/>
                  </a:lnTo>
                  <a:lnTo>
                    <a:pt x="536" y="594"/>
                  </a:lnTo>
                  <a:lnTo>
                    <a:pt x="538" y="578"/>
                  </a:lnTo>
                  <a:lnTo>
                    <a:pt x="539" y="563"/>
                  </a:lnTo>
                  <a:lnTo>
                    <a:pt x="540" y="548"/>
                  </a:lnTo>
                  <a:lnTo>
                    <a:pt x="541" y="533"/>
                  </a:lnTo>
                  <a:lnTo>
                    <a:pt x="540" y="522"/>
                  </a:lnTo>
                  <a:lnTo>
                    <a:pt x="539" y="513"/>
                  </a:lnTo>
                  <a:lnTo>
                    <a:pt x="537" y="503"/>
                  </a:lnTo>
                  <a:lnTo>
                    <a:pt x="535" y="494"/>
                  </a:lnTo>
                  <a:lnTo>
                    <a:pt x="532" y="485"/>
                  </a:lnTo>
                  <a:lnTo>
                    <a:pt x="528" y="477"/>
                  </a:lnTo>
                  <a:lnTo>
                    <a:pt x="523" y="469"/>
                  </a:lnTo>
                  <a:lnTo>
                    <a:pt x="518" y="462"/>
                  </a:lnTo>
                  <a:lnTo>
                    <a:pt x="512" y="456"/>
                  </a:lnTo>
                  <a:lnTo>
                    <a:pt x="505" y="451"/>
                  </a:lnTo>
                  <a:lnTo>
                    <a:pt x="498" y="446"/>
                  </a:lnTo>
                  <a:lnTo>
                    <a:pt x="489" y="442"/>
                  </a:lnTo>
                  <a:lnTo>
                    <a:pt x="480" y="439"/>
                  </a:lnTo>
                  <a:lnTo>
                    <a:pt x="471" y="437"/>
                  </a:lnTo>
                  <a:lnTo>
                    <a:pt x="462" y="436"/>
                  </a:lnTo>
                  <a:lnTo>
                    <a:pt x="451" y="435"/>
                  </a:lnTo>
                  <a:lnTo>
                    <a:pt x="435" y="436"/>
                  </a:lnTo>
                  <a:lnTo>
                    <a:pt x="419" y="439"/>
                  </a:lnTo>
                  <a:lnTo>
                    <a:pt x="404" y="443"/>
                  </a:lnTo>
                  <a:lnTo>
                    <a:pt x="389" y="448"/>
                  </a:lnTo>
                  <a:lnTo>
                    <a:pt x="375" y="455"/>
                  </a:lnTo>
                  <a:lnTo>
                    <a:pt x="361" y="463"/>
                  </a:lnTo>
                  <a:lnTo>
                    <a:pt x="348" y="472"/>
                  </a:lnTo>
                  <a:lnTo>
                    <a:pt x="335" y="483"/>
                  </a:lnTo>
                  <a:lnTo>
                    <a:pt x="323" y="495"/>
                  </a:lnTo>
                  <a:lnTo>
                    <a:pt x="311" y="507"/>
                  </a:lnTo>
                  <a:lnTo>
                    <a:pt x="299" y="521"/>
                  </a:lnTo>
                  <a:lnTo>
                    <a:pt x="288" y="535"/>
                  </a:lnTo>
                  <a:lnTo>
                    <a:pt x="278" y="549"/>
                  </a:lnTo>
                  <a:lnTo>
                    <a:pt x="268" y="565"/>
                  </a:lnTo>
                  <a:lnTo>
                    <a:pt x="259" y="581"/>
                  </a:lnTo>
                  <a:lnTo>
                    <a:pt x="249" y="597"/>
                  </a:lnTo>
                  <a:lnTo>
                    <a:pt x="233" y="631"/>
                  </a:lnTo>
                  <a:lnTo>
                    <a:pt x="218" y="666"/>
                  </a:lnTo>
                  <a:lnTo>
                    <a:pt x="203" y="700"/>
                  </a:lnTo>
                  <a:lnTo>
                    <a:pt x="192" y="735"/>
                  </a:lnTo>
                  <a:lnTo>
                    <a:pt x="182" y="768"/>
                  </a:lnTo>
                  <a:lnTo>
                    <a:pt x="173" y="800"/>
                  </a:lnTo>
                  <a:lnTo>
                    <a:pt x="166" y="829"/>
                  </a:lnTo>
                  <a:lnTo>
                    <a:pt x="161" y="855"/>
                  </a:lnTo>
                  <a:lnTo>
                    <a:pt x="113" y="1121"/>
                  </a:lnTo>
                  <a:lnTo>
                    <a:pt x="0" y="1121"/>
                  </a:lnTo>
                  <a:lnTo>
                    <a:pt x="218" y="0"/>
                  </a:lnTo>
                  <a:lnTo>
                    <a:pt x="331" y="0"/>
                  </a:lnTo>
                  <a:lnTo>
                    <a:pt x="234" y="501"/>
                  </a:lnTo>
                  <a:lnTo>
                    <a:pt x="234" y="509"/>
                  </a:lnTo>
                  <a:lnTo>
                    <a:pt x="248" y="488"/>
                  </a:lnTo>
                  <a:lnTo>
                    <a:pt x="261" y="470"/>
                  </a:lnTo>
                  <a:lnTo>
                    <a:pt x="275" y="453"/>
                  </a:lnTo>
                  <a:lnTo>
                    <a:pt x="288" y="436"/>
                  </a:lnTo>
                  <a:lnTo>
                    <a:pt x="302" y="420"/>
                  </a:lnTo>
                  <a:lnTo>
                    <a:pt x="317" y="406"/>
                  </a:lnTo>
                  <a:lnTo>
                    <a:pt x="331" y="392"/>
                  </a:lnTo>
                  <a:lnTo>
                    <a:pt x="347" y="380"/>
                  </a:lnTo>
                  <a:lnTo>
                    <a:pt x="363" y="369"/>
                  </a:lnTo>
                  <a:lnTo>
                    <a:pt x="380" y="359"/>
                  </a:lnTo>
                  <a:lnTo>
                    <a:pt x="398" y="351"/>
                  </a:lnTo>
                  <a:lnTo>
                    <a:pt x="417" y="344"/>
                  </a:lnTo>
                  <a:lnTo>
                    <a:pt x="438" y="338"/>
                  </a:lnTo>
                  <a:lnTo>
                    <a:pt x="460" y="334"/>
                  </a:lnTo>
                  <a:lnTo>
                    <a:pt x="483" y="332"/>
                  </a:lnTo>
                  <a:lnTo>
                    <a:pt x="509" y="331"/>
                  </a:lnTo>
                  <a:lnTo>
                    <a:pt x="526" y="332"/>
                  </a:lnTo>
                  <a:lnTo>
                    <a:pt x="543" y="334"/>
                  </a:lnTo>
                  <a:lnTo>
                    <a:pt x="558" y="339"/>
                  </a:lnTo>
                  <a:lnTo>
                    <a:pt x="573" y="345"/>
                  </a:lnTo>
                  <a:lnTo>
                    <a:pt x="587" y="352"/>
                  </a:lnTo>
                  <a:lnTo>
                    <a:pt x="599" y="361"/>
                  </a:lnTo>
                  <a:lnTo>
                    <a:pt x="611" y="371"/>
                  </a:lnTo>
                  <a:lnTo>
                    <a:pt x="621" y="382"/>
                  </a:lnTo>
                  <a:lnTo>
                    <a:pt x="630" y="394"/>
                  </a:lnTo>
                  <a:lnTo>
                    <a:pt x="638" y="407"/>
                  </a:lnTo>
                  <a:lnTo>
                    <a:pt x="645" y="421"/>
                  </a:lnTo>
                  <a:lnTo>
                    <a:pt x="651" y="436"/>
                  </a:lnTo>
                  <a:lnTo>
                    <a:pt x="655" y="451"/>
                  </a:lnTo>
                  <a:lnTo>
                    <a:pt x="659" y="467"/>
                  </a:lnTo>
                  <a:lnTo>
                    <a:pt x="661" y="483"/>
                  </a:lnTo>
                  <a:lnTo>
                    <a:pt x="661" y="501"/>
                  </a:lnTo>
                  <a:lnTo>
                    <a:pt x="661" y="516"/>
                  </a:lnTo>
                  <a:lnTo>
                    <a:pt x="660" y="531"/>
                  </a:lnTo>
                  <a:lnTo>
                    <a:pt x="658" y="546"/>
                  </a:lnTo>
                  <a:lnTo>
                    <a:pt x="656" y="561"/>
                  </a:lnTo>
                  <a:lnTo>
                    <a:pt x="651" y="591"/>
                  </a:lnTo>
                  <a:lnTo>
                    <a:pt x="645" y="62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  <a:cs typeface="+mn-cs"/>
              </a:endParaRPr>
            </a:p>
          </p:txBody>
        </p:sp>
        <p:sp>
          <p:nvSpPr>
            <p:cNvPr id="21" name="Freeform 18"/>
            <p:cNvSpPr>
              <a:spLocks noEditPoints="1"/>
            </p:cNvSpPr>
            <p:nvPr/>
          </p:nvSpPr>
          <p:spPr bwMode="gray">
            <a:xfrm>
              <a:off x="1116013" y="3751263"/>
              <a:ext cx="158750" cy="246062"/>
            </a:xfrm>
            <a:custGeom>
              <a:avLst/>
              <a:gdLst/>
              <a:ahLst/>
              <a:cxnLst>
                <a:cxn ang="0">
                  <a:pos x="602" y="337"/>
                </a:cxn>
                <a:cxn ang="0">
                  <a:pos x="587" y="438"/>
                </a:cxn>
                <a:cxn ang="0">
                  <a:pos x="557" y="544"/>
                </a:cxn>
                <a:cxn ang="0">
                  <a:pos x="535" y="593"/>
                </a:cxn>
                <a:cxn ang="0">
                  <a:pos x="510" y="636"/>
                </a:cxn>
                <a:cxn ang="0">
                  <a:pos x="479" y="671"/>
                </a:cxn>
                <a:cxn ang="0">
                  <a:pos x="443" y="696"/>
                </a:cxn>
                <a:cxn ang="0">
                  <a:pos x="402" y="708"/>
                </a:cxn>
                <a:cxn ang="0">
                  <a:pos x="368" y="708"/>
                </a:cxn>
                <a:cxn ang="0">
                  <a:pos x="343" y="701"/>
                </a:cxn>
                <a:cxn ang="0">
                  <a:pos x="322" y="690"/>
                </a:cxn>
                <a:cxn ang="0">
                  <a:pos x="303" y="675"/>
                </a:cxn>
                <a:cxn ang="0">
                  <a:pos x="280" y="642"/>
                </a:cxn>
                <a:cxn ang="0">
                  <a:pos x="261" y="594"/>
                </a:cxn>
                <a:cxn ang="0">
                  <a:pos x="252" y="542"/>
                </a:cxn>
                <a:cxn ang="0">
                  <a:pos x="251" y="481"/>
                </a:cxn>
                <a:cxn ang="0">
                  <a:pos x="263" y="384"/>
                </a:cxn>
                <a:cxn ang="0">
                  <a:pos x="285" y="298"/>
                </a:cxn>
                <a:cxn ang="0">
                  <a:pos x="304" y="247"/>
                </a:cxn>
                <a:cxn ang="0">
                  <a:pos x="327" y="200"/>
                </a:cxn>
                <a:cxn ang="0">
                  <a:pos x="355" y="158"/>
                </a:cxn>
                <a:cxn ang="0">
                  <a:pos x="387" y="124"/>
                </a:cxn>
                <a:cxn ang="0">
                  <a:pos x="425" y="101"/>
                </a:cxn>
                <a:cxn ang="0">
                  <a:pos x="469" y="89"/>
                </a:cxn>
                <a:cxn ang="0">
                  <a:pos x="504" y="90"/>
                </a:cxn>
                <a:cxn ang="0">
                  <a:pos x="530" y="96"/>
                </a:cxn>
                <a:cxn ang="0">
                  <a:pos x="551" y="107"/>
                </a:cxn>
                <a:cxn ang="0">
                  <a:pos x="567" y="122"/>
                </a:cxn>
                <a:cxn ang="0">
                  <a:pos x="587" y="155"/>
                </a:cxn>
                <a:cxn ang="0">
                  <a:pos x="600" y="202"/>
                </a:cxn>
                <a:cxn ang="0">
                  <a:pos x="605" y="282"/>
                </a:cxn>
                <a:cxn ang="0">
                  <a:pos x="732" y="215"/>
                </a:cxn>
                <a:cxn ang="0">
                  <a:pos x="718" y="143"/>
                </a:cxn>
                <a:cxn ang="0">
                  <a:pos x="701" y="100"/>
                </a:cxn>
                <a:cxn ang="0">
                  <a:pos x="683" y="72"/>
                </a:cxn>
                <a:cxn ang="0">
                  <a:pos x="661" y="48"/>
                </a:cxn>
                <a:cxn ang="0">
                  <a:pos x="635" y="28"/>
                </a:cxn>
                <a:cxn ang="0">
                  <a:pos x="604" y="13"/>
                </a:cxn>
                <a:cxn ang="0">
                  <a:pos x="567" y="3"/>
                </a:cxn>
                <a:cxn ang="0">
                  <a:pos x="525" y="0"/>
                </a:cxn>
                <a:cxn ang="0">
                  <a:pos x="471" y="6"/>
                </a:cxn>
                <a:cxn ang="0">
                  <a:pos x="424" y="22"/>
                </a:cxn>
                <a:cxn ang="0">
                  <a:pos x="386" y="49"/>
                </a:cxn>
                <a:cxn ang="0">
                  <a:pos x="353" y="85"/>
                </a:cxn>
                <a:cxn ang="0">
                  <a:pos x="324" y="128"/>
                </a:cxn>
                <a:cxn ang="0">
                  <a:pos x="331" y="16"/>
                </a:cxn>
                <a:cxn ang="0">
                  <a:pos x="113" y="1137"/>
                </a:cxn>
                <a:cxn ang="0">
                  <a:pos x="215" y="684"/>
                </a:cxn>
                <a:cxn ang="0">
                  <a:pos x="237" y="725"/>
                </a:cxn>
                <a:cxn ang="0">
                  <a:pos x="267" y="759"/>
                </a:cxn>
                <a:cxn ang="0">
                  <a:pos x="304" y="785"/>
                </a:cxn>
                <a:cxn ang="0">
                  <a:pos x="347" y="801"/>
                </a:cxn>
                <a:cxn ang="0">
                  <a:pos x="395" y="806"/>
                </a:cxn>
                <a:cxn ang="0">
                  <a:pos x="462" y="798"/>
                </a:cxn>
                <a:cxn ang="0">
                  <a:pos x="520" y="773"/>
                </a:cxn>
                <a:cxn ang="0">
                  <a:pos x="570" y="736"/>
                </a:cxn>
                <a:cxn ang="0">
                  <a:pos x="612" y="686"/>
                </a:cxn>
                <a:cxn ang="0">
                  <a:pos x="648" y="629"/>
                </a:cxn>
                <a:cxn ang="0">
                  <a:pos x="677" y="566"/>
                </a:cxn>
                <a:cxn ang="0">
                  <a:pos x="699" y="500"/>
                </a:cxn>
                <a:cxn ang="0">
                  <a:pos x="717" y="432"/>
                </a:cxn>
                <a:cxn ang="0">
                  <a:pos x="728" y="366"/>
                </a:cxn>
                <a:cxn ang="0">
                  <a:pos x="735" y="266"/>
                </a:cxn>
              </a:cxnLst>
              <a:rect l="0" t="0" r="r" b="b"/>
              <a:pathLst>
                <a:path w="735" h="1137">
                  <a:moveTo>
                    <a:pt x="605" y="282"/>
                  </a:moveTo>
                  <a:lnTo>
                    <a:pt x="604" y="308"/>
                  </a:lnTo>
                  <a:lnTo>
                    <a:pt x="602" y="337"/>
                  </a:lnTo>
                  <a:lnTo>
                    <a:pt x="599" y="369"/>
                  </a:lnTo>
                  <a:lnTo>
                    <a:pt x="594" y="403"/>
                  </a:lnTo>
                  <a:lnTo>
                    <a:pt x="587" y="438"/>
                  </a:lnTo>
                  <a:lnTo>
                    <a:pt x="579" y="474"/>
                  </a:lnTo>
                  <a:lnTo>
                    <a:pt x="569" y="510"/>
                  </a:lnTo>
                  <a:lnTo>
                    <a:pt x="557" y="544"/>
                  </a:lnTo>
                  <a:lnTo>
                    <a:pt x="550" y="561"/>
                  </a:lnTo>
                  <a:lnTo>
                    <a:pt x="543" y="577"/>
                  </a:lnTo>
                  <a:lnTo>
                    <a:pt x="535" y="593"/>
                  </a:lnTo>
                  <a:lnTo>
                    <a:pt x="527" y="608"/>
                  </a:lnTo>
                  <a:lnTo>
                    <a:pt x="519" y="623"/>
                  </a:lnTo>
                  <a:lnTo>
                    <a:pt x="510" y="636"/>
                  </a:lnTo>
                  <a:lnTo>
                    <a:pt x="500" y="649"/>
                  </a:lnTo>
                  <a:lnTo>
                    <a:pt x="490" y="661"/>
                  </a:lnTo>
                  <a:lnTo>
                    <a:pt x="479" y="671"/>
                  </a:lnTo>
                  <a:lnTo>
                    <a:pt x="468" y="681"/>
                  </a:lnTo>
                  <a:lnTo>
                    <a:pt x="456" y="689"/>
                  </a:lnTo>
                  <a:lnTo>
                    <a:pt x="443" y="696"/>
                  </a:lnTo>
                  <a:lnTo>
                    <a:pt x="429" y="702"/>
                  </a:lnTo>
                  <a:lnTo>
                    <a:pt x="416" y="706"/>
                  </a:lnTo>
                  <a:lnTo>
                    <a:pt x="402" y="708"/>
                  </a:lnTo>
                  <a:lnTo>
                    <a:pt x="387" y="709"/>
                  </a:lnTo>
                  <a:lnTo>
                    <a:pt x="377" y="709"/>
                  </a:lnTo>
                  <a:lnTo>
                    <a:pt x="368" y="708"/>
                  </a:lnTo>
                  <a:lnTo>
                    <a:pt x="360" y="706"/>
                  </a:lnTo>
                  <a:lnTo>
                    <a:pt x="351" y="704"/>
                  </a:lnTo>
                  <a:lnTo>
                    <a:pt x="343" y="701"/>
                  </a:lnTo>
                  <a:lnTo>
                    <a:pt x="336" y="698"/>
                  </a:lnTo>
                  <a:lnTo>
                    <a:pt x="328" y="694"/>
                  </a:lnTo>
                  <a:lnTo>
                    <a:pt x="322" y="690"/>
                  </a:lnTo>
                  <a:lnTo>
                    <a:pt x="315" y="685"/>
                  </a:lnTo>
                  <a:lnTo>
                    <a:pt x="309" y="680"/>
                  </a:lnTo>
                  <a:lnTo>
                    <a:pt x="303" y="675"/>
                  </a:lnTo>
                  <a:lnTo>
                    <a:pt x="298" y="669"/>
                  </a:lnTo>
                  <a:lnTo>
                    <a:pt x="288" y="656"/>
                  </a:lnTo>
                  <a:lnTo>
                    <a:pt x="280" y="642"/>
                  </a:lnTo>
                  <a:lnTo>
                    <a:pt x="272" y="627"/>
                  </a:lnTo>
                  <a:lnTo>
                    <a:pt x="266" y="611"/>
                  </a:lnTo>
                  <a:lnTo>
                    <a:pt x="261" y="594"/>
                  </a:lnTo>
                  <a:lnTo>
                    <a:pt x="257" y="577"/>
                  </a:lnTo>
                  <a:lnTo>
                    <a:pt x="254" y="560"/>
                  </a:lnTo>
                  <a:lnTo>
                    <a:pt x="252" y="542"/>
                  </a:lnTo>
                  <a:lnTo>
                    <a:pt x="251" y="525"/>
                  </a:lnTo>
                  <a:lnTo>
                    <a:pt x="250" y="508"/>
                  </a:lnTo>
                  <a:lnTo>
                    <a:pt x="251" y="481"/>
                  </a:lnTo>
                  <a:lnTo>
                    <a:pt x="254" y="451"/>
                  </a:lnTo>
                  <a:lnTo>
                    <a:pt x="257" y="418"/>
                  </a:lnTo>
                  <a:lnTo>
                    <a:pt x="263" y="384"/>
                  </a:lnTo>
                  <a:lnTo>
                    <a:pt x="270" y="350"/>
                  </a:lnTo>
                  <a:lnTo>
                    <a:pt x="280" y="315"/>
                  </a:lnTo>
                  <a:lnTo>
                    <a:pt x="285" y="298"/>
                  </a:lnTo>
                  <a:lnTo>
                    <a:pt x="291" y="280"/>
                  </a:lnTo>
                  <a:lnTo>
                    <a:pt x="297" y="264"/>
                  </a:lnTo>
                  <a:lnTo>
                    <a:pt x="304" y="247"/>
                  </a:lnTo>
                  <a:lnTo>
                    <a:pt x="311" y="231"/>
                  </a:lnTo>
                  <a:lnTo>
                    <a:pt x="319" y="215"/>
                  </a:lnTo>
                  <a:lnTo>
                    <a:pt x="327" y="200"/>
                  </a:lnTo>
                  <a:lnTo>
                    <a:pt x="336" y="185"/>
                  </a:lnTo>
                  <a:lnTo>
                    <a:pt x="345" y="172"/>
                  </a:lnTo>
                  <a:lnTo>
                    <a:pt x="355" y="158"/>
                  </a:lnTo>
                  <a:lnTo>
                    <a:pt x="365" y="146"/>
                  </a:lnTo>
                  <a:lnTo>
                    <a:pt x="376" y="134"/>
                  </a:lnTo>
                  <a:lnTo>
                    <a:pt x="387" y="124"/>
                  </a:lnTo>
                  <a:lnTo>
                    <a:pt x="399" y="115"/>
                  </a:lnTo>
                  <a:lnTo>
                    <a:pt x="412" y="107"/>
                  </a:lnTo>
                  <a:lnTo>
                    <a:pt x="425" y="101"/>
                  </a:lnTo>
                  <a:lnTo>
                    <a:pt x="440" y="95"/>
                  </a:lnTo>
                  <a:lnTo>
                    <a:pt x="454" y="91"/>
                  </a:lnTo>
                  <a:lnTo>
                    <a:pt x="469" y="89"/>
                  </a:lnTo>
                  <a:lnTo>
                    <a:pt x="485" y="88"/>
                  </a:lnTo>
                  <a:lnTo>
                    <a:pt x="495" y="89"/>
                  </a:lnTo>
                  <a:lnTo>
                    <a:pt x="504" y="90"/>
                  </a:lnTo>
                  <a:lnTo>
                    <a:pt x="513" y="91"/>
                  </a:lnTo>
                  <a:lnTo>
                    <a:pt x="522" y="93"/>
                  </a:lnTo>
                  <a:lnTo>
                    <a:pt x="530" y="96"/>
                  </a:lnTo>
                  <a:lnTo>
                    <a:pt x="537" y="99"/>
                  </a:lnTo>
                  <a:lnTo>
                    <a:pt x="544" y="103"/>
                  </a:lnTo>
                  <a:lnTo>
                    <a:pt x="551" y="107"/>
                  </a:lnTo>
                  <a:lnTo>
                    <a:pt x="557" y="112"/>
                  </a:lnTo>
                  <a:lnTo>
                    <a:pt x="562" y="117"/>
                  </a:lnTo>
                  <a:lnTo>
                    <a:pt x="567" y="122"/>
                  </a:lnTo>
                  <a:lnTo>
                    <a:pt x="572" y="128"/>
                  </a:lnTo>
                  <a:lnTo>
                    <a:pt x="580" y="141"/>
                  </a:lnTo>
                  <a:lnTo>
                    <a:pt x="587" y="155"/>
                  </a:lnTo>
                  <a:lnTo>
                    <a:pt x="592" y="170"/>
                  </a:lnTo>
                  <a:lnTo>
                    <a:pt x="597" y="186"/>
                  </a:lnTo>
                  <a:lnTo>
                    <a:pt x="600" y="202"/>
                  </a:lnTo>
                  <a:lnTo>
                    <a:pt x="602" y="218"/>
                  </a:lnTo>
                  <a:lnTo>
                    <a:pt x="604" y="251"/>
                  </a:lnTo>
                  <a:lnTo>
                    <a:pt x="605" y="282"/>
                  </a:lnTo>
                  <a:close/>
                  <a:moveTo>
                    <a:pt x="735" y="266"/>
                  </a:moveTo>
                  <a:lnTo>
                    <a:pt x="734" y="241"/>
                  </a:lnTo>
                  <a:lnTo>
                    <a:pt x="732" y="215"/>
                  </a:lnTo>
                  <a:lnTo>
                    <a:pt x="729" y="191"/>
                  </a:lnTo>
                  <a:lnTo>
                    <a:pt x="725" y="167"/>
                  </a:lnTo>
                  <a:lnTo>
                    <a:pt x="718" y="143"/>
                  </a:lnTo>
                  <a:lnTo>
                    <a:pt x="710" y="121"/>
                  </a:lnTo>
                  <a:lnTo>
                    <a:pt x="705" y="111"/>
                  </a:lnTo>
                  <a:lnTo>
                    <a:pt x="701" y="100"/>
                  </a:lnTo>
                  <a:lnTo>
                    <a:pt x="695" y="91"/>
                  </a:lnTo>
                  <a:lnTo>
                    <a:pt x="689" y="81"/>
                  </a:lnTo>
                  <a:lnTo>
                    <a:pt x="683" y="72"/>
                  </a:lnTo>
                  <a:lnTo>
                    <a:pt x="676" y="64"/>
                  </a:lnTo>
                  <a:lnTo>
                    <a:pt x="669" y="55"/>
                  </a:lnTo>
                  <a:lnTo>
                    <a:pt x="661" y="48"/>
                  </a:lnTo>
                  <a:lnTo>
                    <a:pt x="653" y="41"/>
                  </a:lnTo>
                  <a:lnTo>
                    <a:pt x="644" y="34"/>
                  </a:lnTo>
                  <a:lnTo>
                    <a:pt x="635" y="28"/>
                  </a:lnTo>
                  <a:lnTo>
                    <a:pt x="625" y="22"/>
                  </a:lnTo>
                  <a:lnTo>
                    <a:pt x="615" y="17"/>
                  </a:lnTo>
                  <a:lnTo>
                    <a:pt x="604" y="13"/>
                  </a:lnTo>
                  <a:lnTo>
                    <a:pt x="592" y="9"/>
                  </a:lnTo>
                  <a:lnTo>
                    <a:pt x="580" y="6"/>
                  </a:lnTo>
                  <a:lnTo>
                    <a:pt x="567" y="3"/>
                  </a:lnTo>
                  <a:lnTo>
                    <a:pt x="553" y="1"/>
                  </a:lnTo>
                  <a:lnTo>
                    <a:pt x="539" y="0"/>
                  </a:lnTo>
                  <a:lnTo>
                    <a:pt x="525" y="0"/>
                  </a:lnTo>
                  <a:lnTo>
                    <a:pt x="506" y="1"/>
                  </a:lnTo>
                  <a:lnTo>
                    <a:pt x="488" y="2"/>
                  </a:lnTo>
                  <a:lnTo>
                    <a:pt x="471" y="6"/>
                  </a:lnTo>
                  <a:lnTo>
                    <a:pt x="455" y="10"/>
                  </a:lnTo>
                  <a:lnTo>
                    <a:pt x="440" y="16"/>
                  </a:lnTo>
                  <a:lnTo>
                    <a:pt x="424" y="22"/>
                  </a:lnTo>
                  <a:lnTo>
                    <a:pt x="411" y="30"/>
                  </a:lnTo>
                  <a:lnTo>
                    <a:pt x="398" y="39"/>
                  </a:lnTo>
                  <a:lnTo>
                    <a:pt x="386" y="49"/>
                  </a:lnTo>
                  <a:lnTo>
                    <a:pt x="374" y="60"/>
                  </a:lnTo>
                  <a:lnTo>
                    <a:pt x="363" y="72"/>
                  </a:lnTo>
                  <a:lnTo>
                    <a:pt x="353" y="85"/>
                  </a:lnTo>
                  <a:lnTo>
                    <a:pt x="343" y="98"/>
                  </a:lnTo>
                  <a:lnTo>
                    <a:pt x="333" y="113"/>
                  </a:lnTo>
                  <a:lnTo>
                    <a:pt x="324" y="128"/>
                  </a:lnTo>
                  <a:lnTo>
                    <a:pt x="315" y="144"/>
                  </a:lnTo>
                  <a:lnTo>
                    <a:pt x="307" y="144"/>
                  </a:lnTo>
                  <a:lnTo>
                    <a:pt x="331" y="16"/>
                  </a:lnTo>
                  <a:lnTo>
                    <a:pt x="218" y="16"/>
                  </a:lnTo>
                  <a:lnTo>
                    <a:pt x="0" y="1137"/>
                  </a:lnTo>
                  <a:lnTo>
                    <a:pt x="113" y="1137"/>
                  </a:lnTo>
                  <a:lnTo>
                    <a:pt x="202" y="669"/>
                  </a:lnTo>
                  <a:lnTo>
                    <a:pt x="210" y="669"/>
                  </a:lnTo>
                  <a:lnTo>
                    <a:pt x="215" y="684"/>
                  </a:lnTo>
                  <a:lnTo>
                    <a:pt x="221" y="698"/>
                  </a:lnTo>
                  <a:lnTo>
                    <a:pt x="229" y="711"/>
                  </a:lnTo>
                  <a:lnTo>
                    <a:pt x="237" y="725"/>
                  </a:lnTo>
                  <a:lnTo>
                    <a:pt x="246" y="737"/>
                  </a:lnTo>
                  <a:lnTo>
                    <a:pt x="256" y="748"/>
                  </a:lnTo>
                  <a:lnTo>
                    <a:pt x="267" y="759"/>
                  </a:lnTo>
                  <a:lnTo>
                    <a:pt x="279" y="768"/>
                  </a:lnTo>
                  <a:lnTo>
                    <a:pt x="291" y="777"/>
                  </a:lnTo>
                  <a:lnTo>
                    <a:pt x="304" y="785"/>
                  </a:lnTo>
                  <a:lnTo>
                    <a:pt x="318" y="791"/>
                  </a:lnTo>
                  <a:lnTo>
                    <a:pt x="332" y="796"/>
                  </a:lnTo>
                  <a:lnTo>
                    <a:pt x="347" y="801"/>
                  </a:lnTo>
                  <a:lnTo>
                    <a:pt x="363" y="804"/>
                  </a:lnTo>
                  <a:lnTo>
                    <a:pt x="379" y="806"/>
                  </a:lnTo>
                  <a:lnTo>
                    <a:pt x="395" y="806"/>
                  </a:lnTo>
                  <a:lnTo>
                    <a:pt x="418" y="806"/>
                  </a:lnTo>
                  <a:lnTo>
                    <a:pt x="441" y="803"/>
                  </a:lnTo>
                  <a:lnTo>
                    <a:pt x="462" y="798"/>
                  </a:lnTo>
                  <a:lnTo>
                    <a:pt x="482" y="791"/>
                  </a:lnTo>
                  <a:lnTo>
                    <a:pt x="501" y="783"/>
                  </a:lnTo>
                  <a:lnTo>
                    <a:pt x="520" y="773"/>
                  </a:lnTo>
                  <a:lnTo>
                    <a:pt x="537" y="762"/>
                  </a:lnTo>
                  <a:lnTo>
                    <a:pt x="554" y="750"/>
                  </a:lnTo>
                  <a:lnTo>
                    <a:pt x="570" y="736"/>
                  </a:lnTo>
                  <a:lnTo>
                    <a:pt x="585" y="721"/>
                  </a:lnTo>
                  <a:lnTo>
                    <a:pt x="599" y="703"/>
                  </a:lnTo>
                  <a:lnTo>
                    <a:pt x="612" y="686"/>
                  </a:lnTo>
                  <a:lnTo>
                    <a:pt x="625" y="668"/>
                  </a:lnTo>
                  <a:lnTo>
                    <a:pt x="637" y="649"/>
                  </a:lnTo>
                  <a:lnTo>
                    <a:pt x="648" y="629"/>
                  </a:lnTo>
                  <a:lnTo>
                    <a:pt x="658" y="609"/>
                  </a:lnTo>
                  <a:lnTo>
                    <a:pt x="668" y="588"/>
                  </a:lnTo>
                  <a:lnTo>
                    <a:pt x="677" y="566"/>
                  </a:lnTo>
                  <a:lnTo>
                    <a:pt x="685" y="544"/>
                  </a:lnTo>
                  <a:lnTo>
                    <a:pt x="692" y="522"/>
                  </a:lnTo>
                  <a:lnTo>
                    <a:pt x="699" y="500"/>
                  </a:lnTo>
                  <a:lnTo>
                    <a:pt x="705" y="477"/>
                  </a:lnTo>
                  <a:lnTo>
                    <a:pt x="712" y="455"/>
                  </a:lnTo>
                  <a:lnTo>
                    <a:pt x="717" y="432"/>
                  </a:lnTo>
                  <a:lnTo>
                    <a:pt x="721" y="409"/>
                  </a:lnTo>
                  <a:lnTo>
                    <a:pt x="725" y="387"/>
                  </a:lnTo>
                  <a:lnTo>
                    <a:pt x="728" y="366"/>
                  </a:lnTo>
                  <a:lnTo>
                    <a:pt x="730" y="345"/>
                  </a:lnTo>
                  <a:lnTo>
                    <a:pt x="734" y="304"/>
                  </a:lnTo>
                  <a:lnTo>
                    <a:pt x="735" y="26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  <a:cs typeface="+mn-cs"/>
              </a:endParaRPr>
            </a:p>
          </p:txBody>
        </p:sp>
        <p:sp>
          <p:nvSpPr>
            <p:cNvPr id="22" name="Freeform 19"/>
            <p:cNvSpPr>
              <a:spLocks noEditPoints="1"/>
            </p:cNvSpPr>
            <p:nvPr/>
          </p:nvSpPr>
          <p:spPr bwMode="gray">
            <a:xfrm>
              <a:off x="1287463" y="3751263"/>
              <a:ext cx="133350" cy="173037"/>
            </a:xfrm>
            <a:custGeom>
              <a:avLst/>
              <a:gdLst/>
              <a:ahLst/>
              <a:cxnLst>
                <a:cxn ang="0">
                  <a:pos x="492" y="229"/>
                </a:cxn>
                <a:cxn ang="0">
                  <a:pos x="169" y="242"/>
                </a:cxn>
                <a:cxn ang="0">
                  <a:pos x="190" y="195"/>
                </a:cxn>
                <a:cxn ang="0">
                  <a:pos x="217" y="154"/>
                </a:cxn>
                <a:cxn ang="0">
                  <a:pos x="251" y="122"/>
                </a:cxn>
                <a:cxn ang="0">
                  <a:pos x="293" y="100"/>
                </a:cxn>
                <a:cxn ang="0">
                  <a:pos x="343" y="89"/>
                </a:cxn>
                <a:cxn ang="0">
                  <a:pos x="389" y="90"/>
                </a:cxn>
                <a:cxn ang="0">
                  <a:pos x="424" y="102"/>
                </a:cxn>
                <a:cxn ang="0">
                  <a:pos x="454" y="121"/>
                </a:cxn>
                <a:cxn ang="0">
                  <a:pos x="477" y="149"/>
                </a:cxn>
                <a:cxn ang="0">
                  <a:pos x="490" y="184"/>
                </a:cxn>
                <a:cxn ang="0">
                  <a:pos x="605" y="218"/>
                </a:cxn>
                <a:cxn ang="0">
                  <a:pos x="602" y="181"/>
                </a:cxn>
                <a:cxn ang="0">
                  <a:pos x="594" y="146"/>
                </a:cxn>
                <a:cxn ang="0">
                  <a:pos x="582" y="116"/>
                </a:cxn>
                <a:cxn ang="0">
                  <a:pos x="565" y="88"/>
                </a:cxn>
                <a:cxn ang="0">
                  <a:pos x="544" y="64"/>
                </a:cxn>
                <a:cxn ang="0">
                  <a:pos x="520" y="44"/>
                </a:cxn>
                <a:cxn ang="0">
                  <a:pos x="483" y="23"/>
                </a:cxn>
                <a:cxn ang="0">
                  <a:pos x="417" y="4"/>
                </a:cxn>
                <a:cxn ang="0">
                  <a:pos x="346" y="1"/>
                </a:cxn>
                <a:cxn ang="0">
                  <a:pos x="279" y="11"/>
                </a:cxn>
                <a:cxn ang="0">
                  <a:pos x="219" y="34"/>
                </a:cxn>
                <a:cxn ang="0">
                  <a:pos x="166" y="66"/>
                </a:cxn>
                <a:cxn ang="0">
                  <a:pos x="122" y="108"/>
                </a:cxn>
                <a:cxn ang="0">
                  <a:pos x="85" y="157"/>
                </a:cxn>
                <a:cxn ang="0">
                  <a:pos x="55" y="212"/>
                </a:cxn>
                <a:cxn ang="0">
                  <a:pos x="32" y="272"/>
                </a:cxn>
                <a:cxn ang="0">
                  <a:pos x="15" y="334"/>
                </a:cxn>
                <a:cxn ang="0">
                  <a:pos x="5" y="398"/>
                </a:cxn>
                <a:cxn ang="0">
                  <a:pos x="0" y="463"/>
                </a:cxn>
                <a:cxn ang="0">
                  <a:pos x="1" y="523"/>
                </a:cxn>
                <a:cxn ang="0">
                  <a:pos x="8" y="578"/>
                </a:cxn>
                <a:cxn ang="0">
                  <a:pos x="21" y="626"/>
                </a:cxn>
                <a:cxn ang="0">
                  <a:pos x="39" y="668"/>
                </a:cxn>
                <a:cxn ang="0">
                  <a:pos x="63" y="705"/>
                </a:cxn>
                <a:cxn ang="0">
                  <a:pos x="93" y="737"/>
                </a:cxn>
                <a:cxn ang="0">
                  <a:pos x="128" y="762"/>
                </a:cxn>
                <a:cxn ang="0">
                  <a:pos x="168" y="782"/>
                </a:cxn>
                <a:cxn ang="0">
                  <a:pos x="215" y="795"/>
                </a:cxn>
                <a:cxn ang="0">
                  <a:pos x="266" y="804"/>
                </a:cxn>
                <a:cxn ang="0">
                  <a:pos x="322" y="806"/>
                </a:cxn>
                <a:cxn ang="0">
                  <a:pos x="386" y="803"/>
                </a:cxn>
                <a:cxn ang="0">
                  <a:pos x="449" y="793"/>
                </a:cxn>
                <a:cxn ang="0">
                  <a:pos x="508" y="693"/>
                </a:cxn>
                <a:cxn ang="0">
                  <a:pos x="430" y="706"/>
                </a:cxn>
                <a:cxn ang="0">
                  <a:pos x="379" y="709"/>
                </a:cxn>
                <a:cxn ang="0">
                  <a:pos x="333" y="707"/>
                </a:cxn>
                <a:cxn ang="0">
                  <a:pos x="293" y="701"/>
                </a:cxn>
                <a:cxn ang="0">
                  <a:pos x="257" y="690"/>
                </a:cxn>
                <a:cxn ang="0">
                  <a:pos x="226" y="674"/>
                </a:cxn>
                <a:cxn ang="0">
                  <a:pos x="199" y="654"/>
                </a:cxn>
                <a:cxn ang="0">
                  <a:pos x="175" y="630"/>
                </a:cxn>
                <a:cxn ang="0">
                  <a:pos x="157" y="601"/>
                </a:cxn>
                <a:cxn ang="0">
                  <a:pos x="144" y="567"/>
                </a:cxn>
                <a:cxn ang="0">
                  <a:pos x="134" y="528"/>
                </a:cxn>
                <a:cxn ang="0">
                  <a:pos x="129" y="484"/>
                </a:cxn>
                <a:cxn ang="0">
                  <a:pos x="129" y="436"/>
                </a:cxn>
                <a:cxn ang="0">
                  <a:pos x="133" y="391"/>
                </a:cxn>
                <a:cxn ang="0">
                  <a:pos x="589" y="330"/>
                </a:cxn>
                <a:cxn ang="0">
                  <a:pos x="602" y="263"/>
                </a:cxn>
                <a:cxn ang="0">
                  <a:pos x="605" y="218"/>
                </a:cxn>
              </a:cxnLst>
              <a:rect l="0" t="0" r="r" b="b"/>
              <a:pathLst>
                <a:path w="605" h="806">
                  <a:moveTo>
                    <a:pt x="492" y="210"/>
                  </a:moveTo>
                  <a:lnTo>
                    <a:pt x="492" y="221"/>
                  </a:lnTo>
                  <a:lnTo>
                    <a:pt x="492" y="229"/>
                  </a:lnTo>
                  <a:lnTo>
                    <a:pt x="492" y="236"/>
                  </a:lnTo>
                  <a:lnTo>
                    <a:pt x="492" y="242"/>
                  </a:lnTo>
                  <a:lnTo>
                    <a:pt x="169" y="242"/>
                  </a:lnTo>
                  <a:lnTo>
                    <a:pt x="175" y="226"/>
                  </a:lnTo>
                  <a:lnTo>
                    <a:pt x="182" y="210"/>
                  </a:lnTo>
                  <a:lnTo>
                    <a:pt x="190" y="195"/>
                  </a:lnTo>
                  <a:lnTo>
                    <a:pt x="199" y="181"/>
                  </a:lnTo>
                  <a:lnTo>
                    <a:pt x="208" y="167"/>
                  </a:lnTo>
                  <a:lnTo>
                    <a:pt x="217" y="154"/>
                  </a:lnTo>
                  <a:lnTo>
                    <a:pt x="228" y="142"/>
                  </a:lnTo>
                  <a:lnTo>
                    <a:pt x="239" y="131"/>
                  </a:lnTo>
                  <a:lnTo>
                    <a:pt x="251" y="122"/>
                  </a:lnTo>
                  <a:lnTo>
                    <a:pt x="264" y="113"/>
                  </a:lnTo>
                  <a:lnTo>
                    <a:pt x="278" y="106"/>
                  </a:lnTo>
                  <a:lnTo>
                    <a:pt x="293" y="100"/>
                  </a:lnTo>
                  <a:lnTo>
                    <a:pt x="309" y="95"/>
                  </a:lnTo>
                  <a:lnTo>
                    <a:pt x="326" y="91"/>
                  </a:lnTo>
                  <a:lnTo>
                    <a:pt x="343" y="89"/>
                  </a:lnTo>
                  <a:lnTo>
                    <a:pt x="363" y="88"/>
                  </a:lnTo>
                  <a:lnTo>
                    <a:pt x="376" y="89"/>
                  </a:lnTo>
                  <a:lnTo>
                    <a:pt x="389" y="90"/>
                  </a:lnTo>
                  <a:lnTo>
                    <a:pt x="401" y="93"/>
                  </a:lnTo>
                  <a:lnTo>
                    <a:pt x="413" y="97"/>
                  </a:lnTo>
                  <a:lnTo>
                    <a:pt x="424" y="102"/>
                  </a:lnTo>
                  <a:lnTo>
                    <a:pt x="435" y="107"/>
                  </a:lnTo>
                  <a:lnTo>
                    <a:pt x="445" y="114"/>
                  </a:lnTo>
                  <a:lnTo>
                    <a:pt x="454" y="121"/>
                  </a:lnTo>
                  <a:lnTo>
                    <a:pt x="462" y="130"/>
                  </a:lnTo>
                  <a:lnTo>
                    <a:pt x="470" y="139"/>
                  </a:lnTo>
                  <a:lnTo>
                    <a:pt x="477" y="149"/>
                  </a:lnTo>
                  <a:lnTo>
                    <a:pt x="482" y="159"/>
                  </a:lnTo>
                  <a:lnTo>
                    <a:pt x="486" y="172"/>
                  </a:lnTo>
                  <a:lnTo>
                    <a:pt x="490" y="184"/>
                  </a:lnTo>
                  <a:lnTo>
                    <a:pt x="491" y="197"/>
                  </a:lnTo>
                  <a:lnTo>
                    <a:pt x="492" y="210"/>
                  </a:lnTo>
                  <a:close/>
                  <a:moveTo>
                    <a:pt x="605" y="218"/>
                  </a:moveTo>
                  <a:lnTo>
                    <a:pt x="604" y="205"/>
                  </a:lnTo>
                  <a:lnTo>
                    <a:pt x="603" y="193"/>
                  </a:lnTo>
                  <a:lnTo>
                    <a:pt x="602" y="181"/>
                  </a:lnTo>
                  <a:lnTo>
                    <a:pt x="600" y="169"/>
                  </a:lnTo>
                  <a:lnTo>
                    <a:pt x="597" y="157"/>
                  </a:lnTo>
                  <a:lnTo>
                    <a:pt x="594" y="146"/>
                  </a:lnTo>
                  <a:lnTo>
                    <a:pt x="590" y="136"/>
                  </a:lnTo>
                  <a:lnTo>
                    <a:pt x="586" y="125"/>
                  </a:lnTo>
                  <a:lnTo>
                    <a:pt x="582" y="116"/>
                  </a:lnTo>
                  <a:lnTo>
                    <a:pt x="576" y="106"/>
                  </a:lnTo>
                  <a:lnTo>
                    <a:pt x="571" y="97"/>
                  </a:lnTo>
                  <a:lnTo>
                    <a:pt x="565" y="88"/>
                  </a:lnTo>
                  <a:lnTo>
                    <a:pt x="558" y="80"/>
                  </a:lnTo>
                  <a:lnTo>
                    <a:pt x="551" y="72"/>
                  </a:lnTo>
                  <a:lnTo>
                    <a:pt x="544" y="64"/>
                  </a:lnTo>
                  <a:lnTo>
                    <a:pt x="536" y="57"/>
                  </a:lnTo>
                  <a:lnTo>
                    <a:pt x="528" y="50"/>
                  </a:lnTo>
                  <a:lnTo>
                    <a:pt x="520" y="44"/>
                  </a:lnTo>
                  <a:lnTo>
                    <a:pt x="511" y="38"/>
                  </a:lnTo>
                  <a:lnTo>
                    <a:pt x="502" y="33"/>
                  </a:lnTo>
                  <a:lnTo>
                    <a:pt x="483" y="23"/>
                  </a:lnTo>
                  <a:lnTo>
                    <a:pt x="461" y="15"/>
                  </a:lnTo>
                  <a:lnTo>
                    <a:pt x="440" y="8"/>
                  </a:lnTo>
                  <a:lnTo>
                    <a:pt x="417" y="4"/>
                  </a:lnTo>
                  <a:lnTo>
                    <a:pt x="394" y="1"/>
                  </a:lnTo>
                  <a:lnTo>
                    <a:pt x="371" y="0"/>
                  </a:lnTo>
                  <a:lnTo>
                    <a:pt x="346" y="1"/>
                  </a:lnTo>
                  <a:lnTo>
                    <a:pt x="323" y="3"/>
                  </a:lnTo>
                  <a:lnTo>
                    <a:pt x="300" y="6"/>
                  </a:lnTo>
                  <a:lnTo>
                    <a:pt x="279" y="11"/>
                  </a:lnTo>
                  <a:lnTo>
                    <a:pt x="258" y="18"/>
                  </a:lnTo>
                  <a:lnTo>
                    <a:pt x="238" y="25"/>
                  </a:lnTo>
                  <a:lnTo>
                    <a:pt x="219" y="34"/>
                  </a:lnTo>
                  <a:lnTo>
                    <a:pt x="201" y="44"/>
                  </a:lnTo>
                  <a:lnTo>
                    <a:pt x="183" y="55"/>
                  </a:lnTo>
                  <a:lnTo>
                    <a:pt x="166" y="66"/>
                  </a:lnTo>
                  <a:lnTo>
                    <a:pt x="151" y="79"/>
                  </a:lnTo>
                  <a:lnTo>
                    <a:pt x="136" y="93"/>
                  </a:lnTo>
                  <a:lnTo>
                    <a:pt x="122" y="108"/>
                  </a:lnTo>
                  <a:lnTo>
                    <a:pt x="109" y="123"/>
                  </a:lnTo>
                  <a:lnTo>
                    <a:pt x="97" y="140"/>
                  </a:lnTo>
                  <a:lnTo>
                    <a:pt x="85" y="157"/>
                  </a:lnTo>
                  <a:lnTo>
                    <a:pt x="75" y="175"/>
                  </a:lnTo>
                  <a:lnTo>
                    <a:pt x="65" y="193"/>
                  </a:lnTo>
                  <a:lnTo>
                    <a:pt x="55" y="212"/>
                  </a:lnTo>
                  <a:lnTo>
                    <a:pt x="47" y="232"/>
                  </a:lnTo>
                  <a:lnTo>
                    <a:pt x="39" y="251"/>
                  </a:lnTo>
                  <a:lnTo>
                    <a:pt x="32" y="272"/>
                  </a:lnTo>
                  <a:lnTo>
                    <a:pt x="26" y="292"/>
                  </a:lnTo>
                  <a:lnTo>
                    <a:pt x="20" y="313"/>
                  </a:lnTo>
                  <a:lnTo>
                    <a:pt x="15" y="334"/>
                  </a:lnTo>
                  <a:lnTo>
                    <a:pt x="11" y="355"/>
                  </a:lnTo>
                  <a:lnTo>
                    <a:pt x="8" y="376"/>
                  </a:lnTo>
                  <a:lnTo>
                    <a:pt x="5" y="398"/>
                  </a:lnTo>
                  <a:lnTo>
                    <a:pt x="3" y="419"/>
                  </a:lnTo>
                  <a:lnTo>
                    <a:pt x="1" y="442"/>
                  </a:lnTo>
                  <a:lnTo>
                    <a:pt x="0" y="463"/>
                  </a:lnTo>
                  <a:lnTo>
                    <a:pt x="0" y="484"/>
                  </a:lnTo>
                  <a:lnTo>
                    <a:pt x="0" y="504"/>
                  </a:lnTo>
                  <a:lnTo>
                    <a:pt x="1" y="523"/>
                  </a:lnTo>
                  <a:lnTo>
                    <a:pt x="3" y="542"/>
                  </a:lnTo>
                  <a:lnTo>
                    <a:pt x="5" y="560"/>
                  </a:lnTo>
                  <a:lnTo>
                    <a:pt x="8" y="578"/>
                  </a:lnTo>
                  <a:lnTo>
                    <a:pt x="12" y="594"/>
                  </a:lnTo>
                  <a:lnTo>
                    <a:pt x="16" y="610"/>
                  </a:lnTo>
                  <a:lnTo>
                    <a:pt x="21" y="626"/>
                  </a:lnTo>
                  <a:lnTo>
                    <a:pt x="26" y="641"/>
                  </a:lnTo>
                  <a:lnTo>
                    <a:pt x="32" y="655"/>
                  </a:lnTo>
                  <a:lnTo>
                    <a:pt x="39" y="668"/>
                  </a:lnTo>
                  <a:lnTo>
                    <a:pt x="46" y="681"/>
                  </a:lnTo>
                  <a:lnTo>
                    <a:pt x="54" y="693"/>
                  </a:lnTo>
                  <a:lnTo>
                    <a:pt x="63" y="705"/>
                  </a:lnTo>
                  <a:lnTo>
                    <a:pt x="72" y="716"/>
                  </a:lnTo>
                  <a:lnTo>
                    <a:pt x="82" y="727"/>
                  </a:lnTo>
                  <a:lnTo>
                    <a:pt x="93" y="737"/>
                  </a:lnTo>
                  <a:lnTo>
                    <a:pt x="104" y="746"/>
                  </a:lnTo>
                  <a:lnTo>
                    <a:pt x="115" y="754"/>
                  </a:lnTo>
                  <a:lnTo>
                    <a:pt x="128" y="762"/>
                  </a:lnTo>
                  <a:lnTo>
                    <a:pt x="141" y="769"/>
                  </a:lnTo>
                  <a:lnTo>
                    <a:pt x="154" y="776"/>
                  </a:lnTo>
                  <a:lnTo>
                    <a:pt x="168" y="782"/>
                  </a:lnTo>
                  <a:lnTo>
                    <a:pt x="183" y="787"/>
                  </a:lnTo>
                  <a:lnTo>
                    <a:pt x="199" y="791"/>
                  </a:lnTo>
                  <a:lnTo>
                    <a:pt x="215" y="795"/>
                  </a:lnTo>
                  <a:lnTo>
                    <a:pt x="231" y="799"/>
                  </a:lnTo>
                  <a:lnTo>
                    <a:pt x="249" y="802"/>
                  </a:lnTo>
                  <a:lnTo>
                    <a:pt x="266" y="804"/>
                  </a:lnTo>
                  <a:lnTo>
                    <a:pt x="284" y="805"/>
                  </a:lnTo>
                  <a:lnTo>
                    <a:pt x="303" y="806"/>
                  </a:lnTo>
                  <a:lnTo>
                    <a:pt x="322" y="806"/>
                  </a:lnTo>
                  <a:lnTo>
                    <a:pt x="343" y="806"/>
                  </a:lnTo>
                  <a:lnTo>
                    <a:pt x="365" y="805"/>
                  </a:lnTo>
                  <a:lnTo>
                    <a:pt x="386" y="803"/>
                  </a:lnTo>
                  <a:lnTo>
                    <a:pt x="407" y="800"/>
                  </a:lnTo>
                  <a:lnTo>
                    <a:pt x="428" y="797"/>
                  </a:lnTo>
                  <a:lnTo>
                    <a:pt x="449" y="793"/>
                  </a:lnTo>
                  <a:lnTo>
                    <a:pt x="471" y="788"/>
                  </a:lnTo>
                  <a:lnTo>
                    <a:pt x="492" y="782"/>
                  </a:lnTo>
                  <a:lnTo>
                    <a:pt x="508" y="693"/>
                  </a:lnTo>
                  <a:lnTo>
                    <a:pt x="478" y="699"/>
                  </a:lnTo>
                  <a:lnTo>
                    <a:pt x="446" y="704"/>
                  </a:lnTo>
                  <a:lnTo>
                    <a:pt x="430" y="706"/>
                  </a:lnTo>
                  <a:lnTo>
                    <a:pt x="413" y="708"/>
                  </a:lnTo>
                  <a:lnTo>
                    <a:pt x="396" y="709"/>
                  </a:lnTo>
                  <a:lnTo>
                    <a:pt x="379" y="709"/>
                  </a:lnTo>
                  <a:lnTo>
                    <a:pt x="363" y="709"/>
                  </a:lnTo>
                  <a:lnTo>
                    <a:pt x="348" y="708"/>
                  </a:lnTo>
                  <a:lnTo>
                    <a:pt x="333" y="707"/>
                  </a:lnTo>
                  <a:lnTo>
                    <a:pt x="319" y="705"/>
                  </a:lnTo>
                  <a:lnTo>
                    <a:pt x="306" y="703"/>
                  </a:lnTo>
                  <a:lnTo>
                    <a:pt x="293" y="701"/>
                  </a:lnTo>
                  <a:lnTo>
                    <a:pt x="280" y="697"/>
                  </a:lnTo>
                  <a:lnTo>
                    <a:pt x="268" y="694"/>
                  </a:lnTo>
                  <a:lnTo>
                    <a:pt x="257" y="690"/>
                  </a:lnTo>
                  <a:lnTo>
                    <a:pt x="246" y="685"/>
                  </a:lnTo>
                  <a:lnTo>
                    <a:pt x="235" y="680"/>
                  </a:lnTo>
                  <a:lnTo>
                    <a:pt x="226" y="674"/>
                  </a:lnTo>
                  <a:lnTo>
                    <a:pt x="216" y="668"/>
                  </a:lnTo>
                  <a:lnTo>
                    <a:pt x="207" y="662"/>
                  </a:lnTo>
                  <a:lnTo>
                    <a:pt x="199" y="654"/>
                  </a:lnTo>
                  <a:lnTo>
                    <a:pt x="191" y="647"/>
                  </a:lnTo>
                  <a:lnTo>
                    <a:pt x="182" y="639"/>
                  </a:lnTo>
                  <a:lnTo>
                    <a:pt x="175" y="630"/>
                  </a:lnTo>
                  <a:lnTo>
                    <a:pt x="169" y="621"/>
                  </a:lnTo>
                  <a:lnTo>
                    <a:pt x="163" y="611"/>
                  </a:lnTo>
                  <a:lnTo>
                    <a:pt x="157" y="601"/>
                  </a:lnTo>
                  <a:lnTo>
                    <a:pt x="152" y="590"/>
                  </a:lnTo>
                  <a:lnTo>
                    <a:pt x="148" y="579"/>
                  </a:lnTo>
                  <a:lnTo>
                    <a:pt x="144" y="567"/>
                  </a:lnTo>
                  <a:lnTo>
                    <a:pt x="140" y="554"/>
                  </a:lnTo>
                  <a:lnTo>
                    <a:pt x="137" y="541"/>
                  </a:lnTo>
                  <a:lnTo>
                    <a:pt x="134" y="528"/>
                  </a:lnTo>
                  <a:lnTo>
                    <a:pt x="132" y="514"/>
                  </a:lnTo>
                  <a:lnTo>
                    <a:pt x="131" y="499"/>
                  </a:lnTo>
                  <a:lnTo>
                    <a:pt x="129" y="484"/>
                  </a:lnTo>
                  <a:lnTo>
                    <a:pt x="129" y="468"/>
                  </a:lnTo>
                  <a:lnTo>
                    <a:pt x="128" y="452"/>
                  </a:lnTo>
                  <a:lnTo>
                    <a:pt x="129" y="436"/>
                  </a:lnTo>
                  <a:lnTo>
                    <a:pt x="130" y="421"/>
                  </a:lnTo>
                  <a:lnTo>
                    <a:pt x="131" y="406"/>
                  </a:lnTo>
                  <a:lnTo>
                    <a:pt x="133" y="391"/>
                  </a:lnTo>
                  <a:lnTo>
                    <a:pt x="139" y="361"/>
                  </a:lnTo>
                  <a:lnTo>
                    <a:pt x="145" y="330"/>
                  </a:lnTo>
                  <a:lnTo>
                    <a:pt x="589" y="330"/>
                  </a:lnTo>
                  <a:lnTo>
                    <a:pt x="594" y="305"/>
                  </a:lnTo>
                  <a:lnTo>
                    <a:pt x="600" y="277"/>
                  </a:lnTo>
                  <a:lnTo>
                    <a:pt x="602" y="263"/>
                  </a:lnTo>
                  <a:lnTo>
                    <a:pt x="603" y="248"/>
                  </a:lnTo>
                  <a:lnTo>
                    <a:pt x="604" y="233"/>
                  </a:lnTo>
                  <a:lnTo>
                    <a:pt x="605" y="21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  <a:cs typeface="+mn-cs"/>
              </a:endParaRPr>
            </a:p>
          </p:txBody>
        </p:sp>
        <p:sp>
          <p:nvSpPr>
            <p:cNvPr id="23" name="Freeform 20"/>
            <p:cNvSpPr>
              <a:spLocks/>
            </p:cNvSpPr>
            <p:nvPr/>
          </p:nvSpPr>
          <p:spPr bwMode="gray">
            <a:xfrm>
              <a:off x="1423988" y="3751263"/>
              <a:ext cx="111125" cy="169862"/>
            </a:xfrm>
            <a:custGeom>
              <a:avLst/>
              <a:gdLst/>
              <a:ahLst/>
              <a:cxnLst>
                <a:cxn ang="0">
                  <a:pos x="500" y="120"/>
                </a:cxn>
                <a:cxn ang="0">
                  <a:pos x="479" y="121"/>
                </a:cxn>
                <a:cxn ang="0">
                  <a:pos x="459" y="123"/>
                </a:cxn>
                <a:cxn ang="0">
                  <a:pos x="441" y="125"/>
                </a:cxn>
                <a:cxn ang="0">
                  <a:pos x="422" y="129"/>
                </a:cxn>
                <a:cxn ang="0">
                  <a:pos x="405" y="134"/>
                </a:cxn>
                <a:cxn ang="0">
                  <a:pos x="388" y="139"/>
                </a:cxn>
                <a:cxn ang="0">
                  <a:pos x="372" y="146"/>
                </a:cxn>
                <a:cxn ang="0">
                  <a:pos x="357" y="153"/>
                </a:cxn>
                <a:cxn ang="0">
                  <a:pos x="343" y="163"/>
                </a:cxn>
                <a:cxn ang="0">
                  <a:pos x="329" y="172"/>
                </a:cxn>
                <a:cxn ang="0">
                  <a:pos x="316" y="182"/>
                </a:cxn>
                <a:cxn ang="0">
                  <a:pos x="304" y="192"/>
                </a:cxn>
                <a:cxn ang="0">
                  <a:pos x="293" y="203"/>
                </a:cxn>
                <a:cxn ang="0">
                  <a:pos x="282" y="215"/>
                </a:cxn>
                <a:cxn ang="0">
                  <a:pos x="272" y="228"/>
                </a:cxn>
                <a:cxn ang="0">
                  <a:pos x="262" y="241"/>
                </a:cxn>
                <a:cxn ang="0">
                  <a:pos x="253" y="255"/>
                </a:cxn>
                <a:cxn ang="0">
                  <a:pos x="244" y="269"/>
                </a:cxn>
                <a:cxn ang="0">
                  <a:pos x="236" y="283"/>
                </a:cxn>
                <a:cxn ang="0">
                  <a:pos x="228" y="298"/>
                </a:cxn>
                <a:cxn ang="0">
                  <a:pos x="221" y="314"/>
                </a:cxn>
                <a:cxn ang="0">
                  <a:pos x="215" y="330"/>
                </a:cxn>
                <a:cxn ang="0">
                  <a:pos x="209" y="346"/>
                </a:cxn>
                <a:cxn ang="0">
                  <a:pos x="203" y="362"/>
                </a:cxn>
                <a:cxn ang="0">
                  <a:pos x="192" y="396"/>
                </a:cxn>
                <a:cxn ang="0">
                  <a:pos x="184" y="430"/>
                </a:cxn>
                <a:cxn ang="0">
                  <a:pos x="176" y="465"/>
                </a:cxn>
                <a:cxn ang="0">
                  <a:pos x="169" y="500"/>
                </a:cxn>
                <a:cxn ang="0">
                  <a:pos x="112" y="790"/>
                </a:cxn>
                <a:cxn ang="0">
                  <a:pos x="0" y="790"/>
                </a:cxn>
                <a:cxn ang="0">
                  <a:pos x="145" y="16"/>
                </a:cxn>
                <a:cxn ang="0">
                  <a:pos x="266" y="16"/>
                </a:cxn>
                <a:cxn ang="0">
                  <a:pos x="234" y="170"/>
                </a:cxn>
                <a:cxn ang="0">
                  <a:pos x="245" y="147"/>
                </a:cxn>
                <a:cxn ang="0">
                  <a:pos x="257" y="127"/>
                </a:cxn>
                <a:cxn ang="0">
                  <a:pos x="270" y="108"/>
                </a:cxn>
                <a:cxn ang="0">
                  <a:pos x="283" y="91"/>
                </a:cxn>
                <a:cxn ang="0">
                  <a:pos x="298" y="76"/>
                </a:cxn>
                <a:cxn ang="0">
                  <a:pos x="314" y="62"/>
                </a:cxn>
                <a:cxn ang="0">
                  <a:pos x="331" y="50"/>
                </a:cxn>
                <a:cxn ang="0">
                  <a:pos x="348" y="39"/>
                </a:cxn>
                <a:cxn ang="0">
                  <a:pos x="367" y="30"/>
                </a:cxn>
                <a:cxn ang="0">
                  <a:pos x="386" y="22"/>
                </a:cxn>
                <a:cxn ang="0">
                  <a:pos x="408" y="15"/>
                </a:cxn>
                <a:cxn ang="0">
                  <a:pos x="429" y="9"/>
                </a:cxn>
                <a:cxn ang="0">
                  <a:pos x="451" y="5"/>
                </a:cxn>
                <a:cxn ang="0">
                  <a:pos x="475" y="2"/>
                </a:cxn>
                <a:cxn ang="0">
                  <a:pos x="499" y="0"/>
                </a:cxn>
                <a:cxn ang="0">
                  <a:pos x="524" y="0"/>
                </a:cxn>
                <a:cxn ang="0">
                  <a:pos x="500" y="120"/>
                </a:cxn>
              </a:cxnLst>
              <a:rect l="0" t="0" r="r" b="b"/>
              <a:pathLst>
                <a:path w="524" h="790">
                  <a:moveTo>
                    <a:pt x="500" y="120"/>
                  </a:moveTo>
                  <a:lnTo>
                    <a:pt x="479" y="121"/>
                  </a:lnTo>
                  <a:lnTo>
                    <a:pt x="459" y="123"/>
                  </a:lnTo>
                  <a:lnTo>
                    <a:pt x="441" y="125"/>
                  </a:lnTo>
                  <a:lnTo>
                    <a:pt x="422" y="129"/>
                  </a:lnTo>
                  <a:lnTo>
                    <a:pt x="405" y="134"/>
                  </a:lnTo>
                  <a:lnTo>
                    <a:pt x="388" y="139"/>
                  </a:lnTo>
                  <a:lnTo>
                    <a:pt x="372" y="146"/>
                  </a:lnTo>
                  <a:lnTo>
                    <a:pt x="357" y="153"/>
                  </a:lnTo>
                  <a:lnTo>
                    <a:pt x="343" y="163"/>
                  </a:lnTo>
                  <a:lnTo>
                    <a:pt x="329" y="172"/>
                  </a:lnTo>
                  <a:lnTo>
                    <a:pt x="316" y="182"/>
                  </a:lnTo>
                  <a:lnTo>
                    <a:pt x="304" y="192"/>
                  </a:lnTo>
                  <a:lnTo>
                    <a:pt x="293" y="203"/>
                  </a:lnTo>
                  <a:lnTo>
                    <a:pt x="282" y="215"/>
                  </a:lnTo>
                  <a:lnTo>
                    <a:pt x="272" y="228"/>
                  </a:lnTo>
                  <a:lnTo>
                    <a:pt x="262" y="241"/>
                  </a:lnTo>
                  <a:lnTo>
                    <a:pt x="253" y="255"/>
                  </a:lnTo>
                  <a:lnTo>
                    <a:pt x="244" y="269"/>
                  </a:lnTo>
                  <a:lnTo>
                    <a:pt x="236" y="283"/>
                  </a:lnTo>
                  <a:lnTo>
                    <a:pt x="228" y="298"/>
                  </a:lnTo>
                  <a:lnTo>
                    <a:pt x="221" y="314"/>
                  </a:lnTo>
                  <a:lnTo>
                    <a:pt x="215" y="330"/>
                  </a:lnTo>
                  <a:lnTo>
                    <a:pt x="209" y="346"/>
                  </a:lnTo>
                  <a:lnTo>
                    <a:pt x="203" y="362"/>
                  </a:lnTo>
                  <a:lnTo>
                    <a:pt x="192" y="396"/>
                  </a:lnTo>
                  <a:lnTo>
                    <a:pt x="184" y="430"/>
                  </a:lnTo>
                  <a:lnTo>
                    <a:pt x="176" y="465"/>
                  </a:lnTo>
                  <a:lnTo>
                    <a:pt x="169" y="500"/>
                  </a:lnTo>
                  <a:lnTo>
                    <a:pt x="112" y="790"/>
                  </a:lnTo>
                  <a:lnTo>
                    <a:pt x="0" y="790"/>
                  </a:lnTo>
                  <a:lnTo>
                    <a:pt x="145" y="16"/>
                  </a:lnTo>
                  <a:lnTo>
                    <a:pt x="266" y="16"/>
                  </a:lnTo>
                  <a:lnTo>
                    <a:pt x="234" y="170"/>
                  </a:lnTo>
                  <a:lnTo>
                    <a:pt x="245" y="147"/>
                  </a:lnTo>
                  <a:lnTo>
                    <a:pt x="257" y="127"/>
                  </a:lnTo>
                  <a:lnTo>
                    <a:pt x="270" y="108"/>
                  </a:lnTo>
                  <a:lnTo>
                    <a:pt x="283" y="91"/>
                  </a:lnTo>
                  <a:lnTo>
                    <a:pt x="298" y="76"/>
                  </a:lnTo>
                  <a:lnTo>
                    <a:pt x="314" y="62"/>
                  </a:lnTo>
                  <a:lnTo>
                    <a:pt x="331" y="50"/>
                  </a:lnTo>
                  <a:lnTo>
                    <a:pt x="348" y="39"/>
                  </a:lnTo>
                  <a:lnTo>
                    <a:pt x="367" y="30"/>
                  </a:lnTo>
                  <a:lnTo>
                    <a:pt x="386" y="22"/>
                  </a:lnTo>
                  <a:lnTo>
                    <a:pt x="408" y="15"/>
                  </a:lnTo>
                  <a:lnTo>
                    <a:pt x="429" y="9"/>
                  </a:lnTo>
                  <a:lnTo>
                    <a:pt x="451" y="5"/>
                  </a:lnTo>
                  <a:lnTo>
                    <a:pt x="475" y="2"/>
                  </a:lnTo>
                  <a:lnTo>
                    <a:pt x="499" y="0"/>
                  </a:lnTo>
                  <a:lnTo>
                    <a:pt x="524" y="0"/>
                  </a:lnTo>
                  <a:lnTo>
                    <a:pt x="500" y="1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  <a:cs typeface="+mn-cs"/>
              </a:endParaRPr>
            </a:p>
          </p:txBody>
        </p:sp>
        <p:sp>
          <p:nvSpPr>
            <p:cNvPr id="24" name="Freeform 21"/>
            <p:cNvSpPr>
              <a:spLocks/>
            </p:cNvSpPr>
            <p:nvPr/>
          </p:nvSpPr>
          <p:spPr bwMode="gray">
            <a:xfrm>
              <a:off x="1550988" y="3676650"/>
              <a:ext cx="130175" cy="244475"/>
            </a:xfrm>
            <a:custGeom>
              <a:avLst/>
              <a:gdLst/>
              <a:ahLst/>
              <a:cxnLst>
                <a:cxn ang="0">
                  <a:pos x="551" y="107"/>
                </a:cxn>
                <a:cxn ang="0">
                  <a:pos x="506" y="100"/>
                </a:cxn>
                <a:cxn ang="0">
                  <a:pos x="475" y="97"/>
                </a:cxn>
                <a:cxn ang="0">
                  <a:pos x="445" y="97"/>
                </a:cxn>
                <a:cxn ang="0">
                  <a:pos x="417" y="100"/>
                </a:cxn>
                <a:cxn ang="0">
                  <a:pos x="392" y="106"/>
                </a:cxn>
                <a:cxn ang="0">
                  <a:pos x="371" y="115"/>
                </a:cxn>
                <a:cxn ang="0">
                  <a:pos x="351" y="126"/>
                </a:cxn>
                <a:cxn ang="0">
                  <a:pos x="335" y="139"/>
                </a:cxn>
                <a:cxn ang="0">
                  <a:pos x="321" y="155"/>
                </a:cxn>
                <a:cxn ang="0">
                  <a:pos x="310" y="172"/>
                </a:cxn>
                <a:cxn ang="0">
                  <a:pos x="296" y="201"/>
                </a:cxn>
                <a:cxn ang="0">
                  <a:pos x="282" y="244"/>
                </a:cxn>
                <a:cxn ang="0">
                  <a:pos x="267" y="315"/>
                </a:cxn>
                <a:cxn ang="0">
                  <a:pos x="485" y="363"/>
                </a:cxn>
                <a:cxn ang="0">
                  <a:pos x="242" y="451"/>
                </a:cxn>
                <a:cxn ang="0">
                  <a:pos x="0" y="1137"/>
                </a:cxn>
                <a:cxn ang="0">
                  <a:pos x="0" y="451"/>
                </a:cxn>
                <a:cxn ang="0">
                  <a:pos x="146" y="363"/>
                </a:cxn>
                <a:cxn ang="0">
                  <a:pos x="163" y="287"/>
                </a:cxn>
                <a:cxn ang="0">
                  <a:pos x="182" y="217"/>
                </a:cxn>
                <a:cxn ang="0">
                  <a:pos x="204" y="156"/>
                </a:cxn>
                <a:cxn ang="0">
                  <a:pos x="217" y="128"/>
                </a:cxn>
                <a:cxn ang="0">
                  <a:pos x="232" y="103"/>
                </a:cxn>
                <a:cxn ang="0">
                  <a:pos x="250" y="80"/>
                </a:cxn>
                <a:cxn ang="0">
                  <a:pos x="271" y="60"/>
                </a:cxn>
                <a:cxn ang="0">
                  <a:pos x="295" y="42"/>
                </a:cxn>
                <a:cxn ang="0">
                  <a:pos x="322" y="27"/>
                </a:cxn>
                <a:cxn ang="0">
                  <a:pos x="354" y="16"/>
                </a:cxn>
                <a:cxn ang="0">
                  <a:pos x="390" y="7"/>
                </a:cxn>
                <a:cxn ang="0">
                  <a:pos x="431" y="2"/>
                </a:cxn>
                <a:cxn ang="0">
                  <a:pos x="477" y="0"/>
                </a:cxn>
                <a:cxn ang="0">
                  <a:pos x="507" y="2"/>
                </a:cxn>
                <a:cxn ang="0">
                  <a:pos x="537" y="5"/>
                </a:cxn>
                <a:cxn ang="0">
                  <a:pos x="597" y="16"/>
                </a:cxn>
              </a:cxnLst>
              <a:rect l="0" t="0" r="r" b="b"/>
              <a:pathLst>
                <a:path w="597" h="1137">
                  <a:moveTo>
                    <a:pt x="581" y="113"/>
                  </a:moveTo>
                  <a:lnTo>
                    <a:pt x="551" y="107"/>
                  </a:lnTo>
                  <a:lnTo>
                    <a:pt x="521" y="102"/>
                  </a:lnTo>
                  <a:lnTo>
                    <a:pt x="506" y="100"/>
                  </a:lnTo>
                  <a:lnTo>
                    <a:pt x="491" y="98"/>
                  </a:lnTo>
                  <a:lnTo>
                    <a:pt x="475" y="97"/>
                  </a:lnTo>
                  <a:lnTo>
                    <a:pt x="460" y="97"/>
                  </a:lnTo>
                  <a:lnTo>
                    <a:pt x="445" y="97"/>
                  </a:lnTo>
                  <a:lnTo>
                    <a:pt x="431" y="98"/>
                  </a:lnTo>
                  <a:lnTo>
                    <a:pt x="417" y="100"/>
                  </a:lnTo>
                  <a:lnTo>
                    <a:pt x="404" y="103"/>
                  </a:lnTo>
                  <a:lnTo>
                    <a:pt x="392" y="106"/>
                  </a:lnTo>
                  <a:lnTo>
                    <a:pt x="381" y="110"/>
                  </a:lnTo>
                  <a:lnTo>
                    <a:pt x="371" y="115"/>
                  </a:lnTo>
                  <a:lnTo>
                    <a:pt x="361" y="120"/>
                  </a:lnTo>
                  <a:lnTo>
                    <a:pt x="351" y="126"/>
                  </a:lnTo>
                  <a:lnTo>
                    <a:pt x="343" y="132"/>
                  </a:lnTo>
                  <a:lnTo>
                    <a:pt x="335" y="139"/>
                  </a:lnTo>
                  <a:lnTo>
                    <a:pt x="328" y="147"/>
                  </a:lnTo>
                  <a:lnTo>
                    <a:pt x="321" y="155"/>
                  </a:lnTo>
                  <a:lnTo>
                    <a:pt x="315" y="163"/>
                  </a:lnTo>
                  <a:lnTo>
                    <a:pt x="310" y="172"/>
                  </a:lnTo>
                  <a:lnTo>
                    <a:pt x="305" y="181"/>
                  </a:lnTo>
                  <a:lnTo>
                    <a:pt x="296" y="201"/>
                  </a:lnTo>
                  <a:lnTo>
                    <a:pt x="288" y="222"/>
                  </a:lnTo>
                  <a:lnTo>
                    <a:pt x="282" y="244"/>
                  </a:lnTo>
                  <a:lnTo>
                    <a:pt x="276" y="267"/>
                  </a:lnTo>
                  <a:lnTo>
                    <a:pt x="267" y="315"/>
                  </a:lnTo>
                  <a:lnTo>
                    <a:pt x="259" y="363"/>
                  </a:lnTo>
                  <a:lnTo>
                    <a:pt x="485" y="363"/>
                  </a:lnTo>
                  <a:lnTo>
                    <a:pt x="460" y="451"/>
                  </a:lnTo>
                  <a:lnTo>
                    <a:pt x="242" y="451"/>
                  </a:lnTo>
                  <a:lnTo>
                    <a:pt x="114" y="1137"/>
                  </a:lnTo>
                  <a:lnTo>
                    <a:pt x="0" y="1137"/>
                  </a:lnTo>
                  <a:lnTo>
                    <a:pt x="130" y="451"/>
                  </a:lnTo>
                  <a:lnTo>
                    <a:pt x="0" y="451"/>
                  </a:lnTo>
                  <a:lnTo>
                    <a:pt x="16" y="363"/>
                  </a:lnTo>
                  <a:lnTo>
                    <a:pt x="146" y="363"/>
                  </a:lnTo>
                  <a:lnTo>
                    <a:pt x="155" y="324"/>
                  </a:lnTo>
                  <a:lnTo>
                    <a:pt x="163" y="287"/>
                  </a:lnTo>
                  <a:lnTo>
                    <a:pt x="172" y="252"/>
                  </a:lnTo>
                  <a:lnTo>
                    <a:pt x="182" y="217"/>
                  </a:lnTo>
                  <a:lnTo>
                    <a:pt x="192" y="186"/>
                  </a:lnTo>
                  <a:lnTo>
                    <a:pt x="204" y="156"/>
                  </a:lnTo>
                  <a:lnTo>
                    <a:pt x="210" y="142"/>
                  </a:lnTo>
                  <a:lnTo>
                    <a:pt x="217" y="128"/>
                  </a:lnTo>
                  <a:lnTo>
                    <a:pt x="224" y="115"/>
                  </a:lnTo>
                  <a:lnTo>
                    <a:pt x="232" y="103"/>
                  </a:lnTo>
                  <a:lnTo>
                    <a:pt x="241" y="91"/>
                  </a:lnTo>
                  <a:lnTo>
                    <a:pt x="250" y="80"/>
                  </a:lnTo>
                  <a:lnTo>
                    <a:pt x="260" y="69"/>
                  </a:lnTo>
                  <a:lnTo>
                    <a:pt x="271" y="60"/>
                  </a:lnTo>
                  <a:lnTo>
                    <a:pt x="282" y="51"/>
                  </a:lnTo>
                  <a:lnTo>
                    <a:pt x="295" y="42"/>
                  </a:lnTo>
                  <a:lnTo>
                    <a:pt x="308" y="34"/>
                  </a:lnTo>
                  <a:lnTo>
                    <a:pt x="322" y="27"/>
                  </a:lnTo>
                  <a:lnTo>
                    <a:pt x="337" y="21"/>
                  </a:lnTo>
                  <a:lnTo>
                    <a:pt x="354" y="16"/>
                  </a:lnTo>
                  <a:lnTo>
                    <a:pt x="372" y="11"/>
                  </a:lnTo>
                  <a:lnTo>
                    <a:pt x="390" y="7"/>
                  </a:lnTo>
                  <a:lnTo>
                    <a:pt x="410" y="4"/>
                  </a:lnTo>
                  <a:lnTo>
                    <a:pt x="431" y="2"/>
                  </a:lnTo>
                  <a:lnTo>
                    <a:pt x="453" y="1"/>
                  </a:lnTo>
                  <a:lnTo>
                    <a:pt x="477" y="0"/>
                  </a:lnTo>
                  <a:lnTo>
                    <a:pt x="492" y="1"/>
                  </a:lnTo>
                  <a:lnTo>
                    <a:pt x="507" y="2"/>
                  </a:lnTo>
                  <a:lnTo>
                    <a:pt x="522" y="3"/>
                  </a:lnTo>
                  <a:lnTo>
                    <a:pt x="537" y="5"/>
                  </a:lnTo>
                  <a:lnTo>
                    <a:pt x="567" y="10"/>
                  </a:lnTo>
                  <a:lnTo>
                    <a:pt x="597" y="16"/>
                  </a:lnTo>
                  <a:lnTo>
                    <a:pt x="581" y="11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  <a:cs typeface="+mn-cs"/>
              </a:endParaRPr>
            </a:p>
          </p:txBody>
        </p:sp>
        <p:sp>
          <p:nvSpPr>
            <p:cNvPr id="25" name="Freeform 22"/>
            <p:cNvSpPr>
              <a:spLocks noEditPoints="1"/>
            </p:cNvSpPr>
            <p:nvPr/>
          </p:nvSpPr>
          <p:spPr bwMode="gray">
            <a:xfrm>
              <a:off x="1641475" y="3751263"/>
              <a:ext cx="142875" cy="173037"/>
            </a:xfrm>
            <a:custGeom>
              <a:avLst/>
              <a:gdLst/>
              <a:ahLst/>
              <a:cxnLst>
                <a:cxn ang="0">
                  <a:pos x="520" y="396"/>
                </a:cxn>
                <a:cxn ang="0">
                  <a:pos x="497" y="516"/>
                </a:cxn>
                <a:cxn ang="0">
                  <a:pos x="471" y="580"/>
                </a:cxn>
                <a:cxn ang="0">
                  <a:pos x="438" y="635"/>
                </a:cxn>
                <a:cxn ang="0">
                  <a:pos x="392" y="677"/>
                </a:cxn>
                <a:cxn ang="0">
                  <a:pos x="335" y="703"/>
                </a:cxn>
                <a:cxn ang="0">
                  <a:pos x="271" y="709"/>
                </a:cxn>
                <a:cxn ang="0">
                  <a:pos x="232" y="702"/>
                </a:cxn>
                <a:cxn ang="0">
                  <a:pos x="199" y="687"/>
                </a:cxn>
                <a:cxn ang="0">
                  <a:pos x="175" y="665"/>
                </a:cxn>
                <a:cxn ang="0">
                  <a:pos x="152" y="630"/>
                </a:cxn>
                <a:cxn ang="0">
                  <a:pos x="133" y="563"/>
                </a:cxn>
                <a:cxn ang="0">
                  <a:pos x="129" y="478"/>
                </a:cxn>
                <a:cxn ang="0">
                  <a:pos x="148" y="343"/>
                </a:cxn>
                <a:cxn ang="0">
                  <a:pos x="174" y="257"/>
                </a:cxn>
                <a:cxn ang="0">
                  <a:pos x="205" y="195"/>
                </a:cxn>
                <a:cxn ang="0">
                  <a:pos x="247" y="143"/>
                </a:cxn>
                <a:cxn ang="0">
                  <a:pos x="298" y="106"/>
                </a:cxn>
                <a:cxn ang="0">
                  <a:pos x="361" y="89"/>
                </a:cxn>
                <a:cxn ang="0">
                  <a:pos x="412" y="91"/>
                </a:cxn>
                <a:cxn ang="0">
                  <a:pos x="448" y="103"/>
                </a:cxn>
                <a:cxn ang="0">
                  <a:pos x="476" y="123"/>
                </a:cxn>
                <a:cxn ang="0">
                  <a:pos x="497" y="149"/>
                </a:cxn>
                <a:cxn ang="0">
                  <a:pos x="517" y="207"/>
                </a:cxn>
                <a:cxn ang="0">
                  <a:pos x="524" y="280"/>
                </a:cxn>
                <a:cxn ang="0">
                  <a:pos x="649" y="216"/>
                </a:cxn>
                <a:cxn ang="0">
                  <a:pos x="638" y="164"/>
                </a:cxn>
                <a:cxn ang="0">
                  <a:pos x="618" y="116"/>
                </a:cxn>
                <a:cxn ang="0">
                  <a:pos x="591" y="76"/>
                </a:cxn>
                <a:cxn ang="0">
                  <a:pos x="555" y="44"/>
                </a:cxn>
                <a:cxn ang="0">
                  <a:pos x="511" y="20"/>
                </a:cxn>
                <a:cxn ang="0">
                  <a:pos x="457" y="5"/>
                </a:cxn>
                <a:cxn ang="0">
                  <a:pos x="395" y="0"/>
                </a:cxn>
                <a:cxn ang="0">
                  <a:pos x="297" y="12"/>
                </a:cxn>
                <a:cxn ang="0">
                  <a:pos x="215" y="46"/>
                </a:cxn>
                <a:cxn ang="0">
                  <a:pos x="146" y="99"/>
                </a:cxn>
                <a:cxn ang="0">
                  <a:pos x="92" y="169"/>
                </a:cxn>
                <a:cxn ang="0">
                  <a:pos x="51" y="249"/>
                </a:cxn>
                <a:cxn ang="0">
                  <a:pos x="22" y="337"/>
                </a:cxn>
                <a:cxn ang="0">
                  <a:pos x="6" y="429"/>
                </a:cxn>
                <a:cxn ang="0">
                  <a:pos x="0" y="524"/>
                </a:cxn>
                <a:cxn ang="0">
                  <a:pos x="4" y="585"/>
                </a:cxn>
                <a:cxn ang="0">
                  <a:pos x="17" y="639"/>
                </a:cxn>
                <a:cxn ang="0">
                  <a:pos x="37" y="687"/>
                </a:cxn>
                <a:cxn ang="0">
                  <a:pos x="67" y="729"/>
                </a:cxn>
                <a:cxn ang="0">
                  <a:pos x="104" y="762"/>
                </a:cxn>
                <a:cxn ang="0">
                  <a:pos x="149" y="786"/>
                </a:cxn>
                <a:cxn ang="0">
                  <a:pos x="203" y="801"/>
                </a:cxn>
                <a:cxn ang="0">
                  <a:pos x="266" y="806"/>
                </a:cxn>
                <a:cxn ang="0">
                  <a:pos x="366" y="794"/>
                </a:cxn>
                <a:cxn ang="0">
                  <a:pos x="449" y="759"/>
                </a:cxn>
                <a:cxn ang="0">
                  <a:pos x="517" y="703"/>
                </a:cxn>
                <a:cxn ang="0">
                  <a:pos x="569" y="634"/>
                </a:cxn>
                <a:cxn ang="0">
                  <a:pos x="607" y="552"/>
                </a:cxn>
                <a:cxn ang="0">
                  <a:pos x="634" y="463"/>
                </a:cxn>
                <a:cxn ang="0">
                  <a:pos x="648" y="368"/>
                </a:cxn>
                <a:cxn ang="0">
                  <a:pos x="653" y="274"/>
                </a:cxn>
              </a:cxnLst>
              <a:rect l="0" t="0" r="r" b="b"/>
              <a:pathLst>
                <a:path w="653" h="806">
                  <a:moveTo>
                    <a:pt x="525" y="298"/>
                  </a:moveTo>
                  <a:lnTo>
                    <a:pt x="524" y="329"/>
                  </a:lnTo>
                  <a:lnTo>
                    <a:pt x="522" y="362"/>
                  </a:lnTo>
                  <a:lnTo>
                    <a:pt x="520" y="396"/>
                  </a:lnTo>
                  <a:lnTo>
                    <a:pt x="515" y="430"/>
                  </a:lnTo>
                  <a:lnTo>
                    <a:pt x="509" y="466"/>
                  </a:lnTo>
                  <a:lnTo>
                    <a:pt x="501" y="500"/>
                  </a:lnTo>
                  <a:lnTo>
                    <a:pt x="497" y="516"/>
                  </a:lnTo>
                  <a:lnTo>
                    <a:pt x="491" y="533"/>
                  </a:lnTo>
                  <a:lnTo>
                    <a:pt x="485" y="549"/>
                  </a:lnTo>
                  <a:lnTo>
                    <a:pt x="478" y="564"/>
                  </a:lnTo>
                  <a:lnTo>
                    <a:pt x="471" y="580"/>
                  </a:lnTo>
                  <a:lnTo>
                    <a:pt x="464" y="594"/>
                  </a:lnTo>
                  <a:lnTo>
                    <a:pt x="456" y="608"/>
                  </a:lnTo>
                  <a:lnTo>
                    <a:pt x="447" y="622"/>
                  </a:lnTo>
                  <a:lnTo>
                    <a:pt x="438" y="635"/>
                  </a:lnTo>
                  <a:lnTo>
                    <a:pt x="427" y="646"/>
                  </a:lnTo>
                  <a:lnTo>
                    <a:pt x="417" y="658"/>
                  </a:lnTo>
                  <a:lnTo>
                    <a:pt x="405" y="668"/>
                  </a:lnTo>
                  <a:lnTo>
                    <a:pt x="392" y="677"/>
                  </a:lnTo>
                  <a:lnTo>
                    <a:pt x="379" y="685"/>
                  </a:lnTo>
                  <a:lnTo>
                    <a:pt x="365" y="692"/>
                  </a:lnTo>
                  <a:lnTo>
                    <a:pt x="351" y="698"/>
                  </a:lnTo>
                  <a:lnTo>
                    <a:pt x="335" y="703"/>
                  </a:lnTo>
                  <a:lnTo>
                    <a:pt x="318" y="706"/>
                  </a:lnTo>
                  <a:lnTo>
                    <a:pt x="301" y="708"/>
                  </a:lnTo>
                  <a:lnTo>
                    <a:pt x="283" y="709"/>
                  </a:lnTo>
                  <a:lnTo>
                    <a:pt x="271" y="709"/>
                  </a:lnTo>
                  <a:lnTo>
                    <a:pt x="261" y="708"/>
                  </a:lnTo>
                  <a:lnTo>
                    <a:pt x="251" y="706"/>
                  </a:lnTo>
                  <a:lnTo>
                    <a:pt x="241" y="704"/>
                  </a:lnTo>
                  <a:lnTo>
                    <a:pt x="232" y="702"/>
                  </a:lnTo>
                  <a:lnTo>
                    <a:pt x="224" y="699"/>
                  </a:lnTo>
                  <a:lnTo>
                    <a:pt x="215" y="695"/>
                  </a:lnTo>
                  <a:lnTo>
                    <a:pt x="207" y="691"/>
                  </a:lnTo>
                  <a:lnTo>
                    <a:pt x="199" y="687"/>
                  </a:lnTo>
                  <a:lnTo>
                    <a:pt x="193" y="682"/>
                  </a:lnTo>
                  <a:lnTo>
                    <a:pt x="186" y="677"/>
                  </a:lnTo>
                  <a:lnTo>
                    <a:pt x="180" y="671"/>
                  </a:lnTo>
                  <a:lnTo>
                    <a:pt x="175" y="665"/>
                  </a:lnTo>
                  <a:lnTo>
                    <a:pt x="169" y="659"/>
                  </a:lnTo>
                  <a:lnTo>
                    <a:pt x="164" y="652"/>
                  </a:lnTo>
                  <a:lnTo>
                    <a:pt x="160" y="645"/>
                  </a:lnTo>
                  <a:lnTo>
                    <a:pt x="152" y="630"/>
                  </a:lnTo>
                  <a:lnTo>
                    <a:pt x="145" y="614"/>
                  </a:lnTo>
                  <a:lnTo>
                    <a:pt x="140" y="598"/>
                  </a:lnTo>
                  <a:lnTo>
                    <a:pt x="136" y="580"/>
                  </a:lnTo>
                  <a:lnTo>
                    <a:pt x="133" y="563"/>
                  </a:lnTo>
                  <a:lnTo>
                    <a:pt x="130" y="544"/>
                  </a:lnTo>
                  <a:lnTo>
                    <a:pt x="129" y="526"/>
                  </a:lnTo>
                  <a:lnTo>
                    <a:pt x="129" y="508"/>
                  </a:lnTo>
                  <a:lnTo>
                    <a:pt x="129" y="478"/>
                  </a:lnTo>
                  <a:lnTo>
                    <a:pt x="132" y="446"/>
                  </a:lnTo>
                  <a:lnTo>
                    <a:pt x="135" y="412"/>
                  </a:lnTo>
                  <a:lnTo>
                    <a:pt x="141" y="377"/>
                  </a:lnTo>
                  <a:lnTo>
                    <a:pt x="148" y="343"/>
                  </a:lnTo>
                  <a:lnTo>
                    <a:pt x="157" y="308"/>
                  </a:lnTo>
                  <a:lnTo>
                    <a:pt x="162" y="291"/>
                  </a:lnTo>
                  <a:lnTo>
                    <a:pt x="168" y="274"/>
                  </a:lnTo>
                  <a:lnTo>
                    <a:pt x="174" y="257"/>
                  </a:lnTo>
                  <a:lnTo>
                    <a:pt x="181" y="241"/>
                  </a:lnTo>
                  <a:lnTo>
                    <a:pt x="188" y="225"/>
                  </a:lnTo>
                  <a:lnTo>
                    <a:pt x="196" y="210"/>
                  </a:lnTo>
                  <a:lnTo>
                    <a:pt x="205" y="195"/>
                  </a:lnTo>
                  <a:lnTo>
                    <a:pt x="215" y="181"/>
                  </a:lnTo>
                  <a:lnTo>
                    <a:pt x="225" y="168"/>
                  </a:lnTo>
                  <a:lnTo>
                    <a:pt x="236" y="154"/>
                  </a:lnTo>
                  <a:lnTo>
                    <a:pt x="247" y="143"/>
                  </a:lnTo>
                  <a:lnTo>
                    <a:pt x="259" y="132"/>
                  </a:lnTo>
                  <a:lnTo>
                    <a:pt x="271" y="122"/>
                  </a:lnTo>
                  <a:lnTo>
                    <a:pt x="284" y="114"/>
                  </a:lnTo>
                  <a:lnTo>
                    <a:pt x="298" y="106"/>
                  </a:lnTo>
                  <a:lnTo>
                    <a:pt x="313" y="100"/>
                  </a:lnTo>
                  <a:lnTo>
                    <a:pt x="328" y="95"/>
                  </a:lnTo>
                  <a:lnTo>
                    <a:pt x="344" y="91"/>
                  </a:lnTo>
                  <a:lnTo>
                    <a:pt x="361" y="89"/>
                  </a:lnTo>
                  <a:lnTo>
                    <a:pt x="379" y="88"/>
                  </a:lnTo>
                  <a:lnTo>
                    <a:pt x="391" y="89"/>
                  </a:lnTo>
                  <a:lnTo>
                    <a:pt x="402" y="90"/>
                  </a:lnTo>
                  <a:lnTo>
                    <a:pt x="412" y="91"/>
                  </a:lnTo>
                  <a:lnTo>
                    <a:pt x="422" y="93"/>
                  </a:lnTo>
                  <a:lnTo>
                    <a:pt x="431" y="96"/>
                  </a:lnTo>
                  <a:lnTo>
                    <a:pt x="440" y="99"/>
                  </a:lnTo>
                  <a:lnTo>
                    <a:pt x="448" y="103"/>
                  </a:lnTo>
                  <a:lnTo>
                    <a:pt x="456" y="107"/>
                  </a:lnTo>
                  <a:lnTo>
                    <a:pt x="463" y="112"/>
                  </a:lnTo>
                  <a:lnTo>
                    <a:pt x="469" y="117"/>
                  </a:lnTo>
                  <a:lnTo>
                    <a:pt x="476" y="123"/>
                  </a:lnTo>
                  <a:lnTo>
                    <a:pt x="481" y="129"/>
                  </a:lnTo>
                  <a:lnTo>
                    <a:pt x="486" y="135"/>
                  </a:lnTo>
                  <a:lnTo>
                    <a:pt x="492" y="142"/>
                  </a:lnTo>
                  <a:lnTo>
                    <a:pt x="497" y="149"/>
                  </a:lnTo>
                  <a:lnTo>
                    <a:pt x="500" y="157"/>
                  </a:lnTo>
                  <a:lnTo>
                    <a:pt x="507" y="173"/>
                  </a:lnTo>
                  <a:lnTo>
                    <a:pt x="513" y="190"/>
                  </a:lnTo>
                  <a:lnTo>
                    <a:pt x="517" y="207"/>
                  </a:lnTo>
                  <a:lnTo>
                    <a:pt x="520" y="225"/>
                  </a:lnTo>
                  <a:lnTo>
                    <a:pt x="522" y="243"/>
                  </a:lnTo>
                  <a:lnTo>
                    <a:pt x="524" y="262"/>
                  </a:lnTo>
                  <a:lnTo>
                    <a:pt x="524" y="280"/>
                  </a:lnTo>
                  <a:lnTo>
                    <a:pt x="525" y="298"/>
                  </a:lnTo>
                  <a:close/>
                  <a:moveTo>
                    <a:pt x="653" y="274"/>
                  </a:moveTo>
                  <a:lnTo>
                    <a:pt x="652" y="245"/>
                  </a:lnTo>
                  <a:lnTo>
                    <a:pt x="649" y="216"/>
                  </a:lnTo>
                  <a:lnTo>
                    <a:pt x="647" y="203"/>
                  </a:lnTo>
                  <a:lnTo>
                    <a:pt x="645" y="189"/>
                  </a:lnTo>
                  <a:lnTo>
                    <a:pt x="641" y="176"/>
                  </a:lnTo>
                  <a:lnTo>
                    <a:pt x="638" y="164"/>
                  </a:lnTo>
                  <a:lnTo>
                    <a:pt x="634" y="150"/>
                  </a:lnTo>
                  <a:lnTo>
                    <a:pt x="629" y="139"/>
                  </a:lnTo>
                  <a:lnTo>
                    <a:pt x="624" y="127"/>
                  </a:lnTo>
                  <a:lnTo>
                    <a:pt x="618" y="116"/>
                  </a:lnTo>
                  <a:lnTo>
                    <a:pt x="612" y="105"/>
                  </a:lnTo>
                  <a:lnTo>
                    <a:pt x="606" y="95"/>
                  </a:lnTo>
                  <a:lnTo>
                    <a:pt x="599" y="86"/>
                  </a:lnTo>
                  <a:lnTo>
                    <a:pt x="591" y="76"/>
                  </a:lnTo>
                  <a:lnTo>
                    <a:pt x="583" y="67"/>
                  </a:lnTo>
                  <a:lnTo>
                    <a:pt x="574" y="59"/>
                  </a:lnTo>
                  <a:lnTo>
                    <a:pt x="565" y="51"/>
                  </a:lnTo>
                  <a:lnTo>
                    <a:pt x="555" y="44"/>
                  </a:lnTo>
                  <a:lnTo>
                    <a:pt x="545" y="37"/>
                  </a:lnTo>
                  <a:lnTo>
                    <a:pt x="534" y="31"/>
                  </a:lnTo>
                  <a:lnTo>
                    <a:pt x="523" y="25"/>
                  </a:lnTo>
                  <a:lnTo>
                    <a:pt x="511" y="20"/>
                  </a:lnTo>
                  <a:lnTo>
                    <a:pt x="498" y="15"/>
                  </a:lnTo>
                  <a:lnTo>
                    <a:pt x="484" y="11"/>
                  </a:lnTo>
                  <a:lnTo>
                    <a:pt x="471" y="8"/>
                  </a:lnTo>
                  <a:lnTo>
                    <a:pt x="457" y="5"/>
                  </a:lnTo>
                  <a:lnTo>
                    <a:pt x="442" y="3"/>
                  </a:lnTo>
                  <a:lnTo>
                    <a:pt x="427" y="1"/>
                  </a:lnTo>
                  <a:lnTo>
                    <a:pt x="411" y="0"/>
                  </a:lnTo>
                  <a:lnTo>
                    <a:pt x="395" y="0"/>
                  </a:lnTo>
                  <a:lnTo>
                    <a:pt x="369" y="1"/>
                  </a:lnTo>
                  <a:lnTo>
                    <a:pt x="344" y="3"/>
                  </a:lnTo>
                  <a:lnTo>
                    <a:pt x="320" y="7"/>
                  </a:lnTo>
                  <a:lnTo>
                    <a:pt x="297" y="12"/>
                  </a:lnTo>
                  <a:lnTo>
                    <a:pt x="275" y="19"/>
                  </a:lnTo>
                  <a:lnTo>
                    <a:pt x="254" y="27"/>
                  </a:lnTo>
                  <a:lnTo>
                    <a:pt x="234" y="36"/>
                  </a:lnTo>
                  <a:lnTo>
                    <a:pt x="215" y="46"/>
                  </a:lnTo>
                  <a:lnTo>
                    <a:pt x="195" y="58"/>
                  </a:lnTo>
                  <a:lnTo>
                    <a:pt x="178" y="71"/>
                  </a:lnTo>
                  <a:lnTo>
                    <a:pt x="161" y="85"/>
                  </a:lnTo>
                  <a:lnTo>
                    <a:pt x="146" y="99"/>
                  </a:lnTo>
                  <a:lnTo>
                    <a:pt x="131" y="115"/>
                  </a:lnTo>
                  <a:lnTo>
                    <a:pt x="117" y="132"/>
                  </a:lnTo>
                  <a:lnTo>
                    <a:pt x="104" y="149"/>
                  </a:lnTo>
                  <a:lnTo>
                    <a:pt x="92" y="169"/>
                  </a:lnTo>
                  <a:lnTo>
                    <a:pt x="80" y="188"/>
                  </a:lnTo>
                  <a:lnTo>
                    <a:pt x="70" y="207"/>
                  </a:lnTo>
                  <a:lnTo>
                    <a:pt x="60" y="228"/>
                  </a:lnTo>
                  <a:lnTo>
                    <a:pt x="51" y="249"/>
                  </a:lnTo>
                  <a:lnTo>
                    <a:pt x="42" y="270"/>
                  </a:lnTo>
                  <a:lnTo>
                    <a:pt x="35" y="292"/>
                  </a:lnTo>
                  <a:lnTo>
                    <a:pt x="28" y="314"/>
                  </a:lnTo>
                  <a:lnTo>
                    <a:pt x="22" y="337"/>
                  </a:lnTo>
                  <a:lnTo>
                    <a:pt x="17" y="359"/>
                  </a:lnTo>
                  <a:lnTo>
                    <a:pt x="12" y="383"/>
                  </a:lnTo>
                  <a:lnTo>
                    <a:pt x="9" y="406"/>
                  </a:lnTo>
                  <a:lnTo>
                    <a:pt x="6" y="429"/>
                  </a:lnTo>
                  <a:lnTo>
                    <a:pt x="3" y="454"/>
                  </a:lnTo>
                  <a:lnTo>
                    <a:pt x="2" y="477"/>
                  </a:lnTo>
                  <a:lnTo>
                    <a:pt x="1" y="501"/>
                  </a:lnTo>
                  <a:lnTo>
                    <a:pt x="0" y="524"/>
                  </a:lnTo>
                  <a:lnTo>
                    <a:pt x="0" y="540"/>
                  </a:lnTo>
                  <a:lnTo>
                    <a:pt x="1" y="555"/>
                  </a:lnTo>
                  <a:lnTo>
                    <a:pt x="2" y="570"/>
                  </a:lnTo>
                  <a:lnTo>
                    <a:pt x="4" y="585"/>
                  </a:lnTo>
                  <a:lnTo>
                    <a:pt x="7" y="599"/>
                  </a:lnTo>
                  <a:lnTo>
                    <a:pt x="9" y="613"/>
                  </a:lnTo>
                  <a:lnTo>
                    <a:pt x="13" y="626"/>
                  </a:lnTo>
                  <a:lnTo>
                    <a:pt x="17" y="639"/>
                  </a:lnTo>
                  <a:lnTo>
                    <a:pt x="21" y="652"/>
                  </a:lnTo>
                  <a:lnTo>
                    <a:pt x="26" y="664"/>
                  </a:lnTo>
                  <a:lnTo>
                    <a:pt x="32" y="676"/>
                  </a:lnTo>
                  <a:lnTo>
                    <a:pt x="37" y="687"/>
                  </a:lnTo>
                  <a:lnTo>
                    <a:pt x="44" y="698"/>
                  </a:lnTo>
                  <a:lnTo>
                    <a:pt x="51" y="709"/>
                  </a:lnTo>
                  <a:lnTo>
                    <a:pt x="58" y="720"/>
                  </a:lnTo>
                  <a:lnTo>
                    <a:pt x="67" y="729"/>
                  </a:lnTo>
                  <a:lnTo>
                    <a:pt x="75" y="738"/>
                  </a:lnTo>
                  <a:lnTo>
                    <a:pt x="84" y="747"/>
                  </a:lnTo>
                  <a:lnTo>
                    <a:pt x="94" y="755"/>
                  </a:lnTo>
                  <a:lnTo>
                    <a:pt x="104" y="762"/>
                  </a:lnTo>
                  <a:lnTo>
                    <a:pt x="114" y="769"/>
                  </a:lnTo>
                  <a:lnTo>
                    <a:pt x="126" y="775"/>
                  </a:lnTo>
                  <a:lnTo>
                    <a:pt x="137" y="781"/>
                  </a:lnTo>
                  <a:lnTo>
                    <a:pt x="149" y="786"/>
                  </a:lnTo>
                  <a:lnTo>
                    <a:pt x="162" y="791"/>
                  </a:lnTo>
                  <a:lnTo>
                    <a:pt x="175" y="795"/>
                  </a:lnTo>
                  <a:lnTo>
                    <a:pt x="189" y="799"/>
                  </a:lnTo>
                  <a:lnTo>
                    <a:pt x="203" y="801"/>
                  </a:lnTo>
                  <a:lnTo>
                    <a:pt x="219" y="804"/>
                  </a:lnTo>
                  <a:lnTo>
                    <a:pt x="234" y="805"/>
                  </a:lnTo>
                  <a:lnTo>
                    <a:pt x="250" y="806"/>
                  </a:lnTo>
                  <a:lnTo>
                    <a:pt x="266" y="806"/>
                  </a:lnTo>
                  <a:lnTo>
                    <a:pt x="293" y="806"/>
                  </a:lnTo>
                  <a:lnTo>
                    <a:pt x="318" y="803"/>
                  </a:lnTo>
                  <a:lnTo>
                    <a:pt x="343" y="799"/>
                  </a:lnTo>
                  <a:lnTo>
                    <a:pt x="366" y="794"/>
                  </a:lnTo>
                  <a:lnTo>
                    <a:pt x="388" y="787"/>
                  </a:lnTo>
                  <a:lnTo>
                    <a:pt x="409" y="779"/>
                  </a:lnTo>
                  <a:lnTo>
                    <a:pt x="430" y="769"/>
                  </a:lnTo>
                  <a:lnTo>
                    <a:pt x="449" y="759"/>
                  </a:lnTo>
                  <a:lnTo>
                    <a:pt x="467" y="747"/>
                  </a:lnTo>
                  <a:lnTo>
                    <a:pt x="484" y="734"/>
                  </a:lnTo>
                  <a:lnTo>
                    <a:pt x="501" y="720"/>
                  </a:lnTo>
                  <a:lnTo>
                    <a:pt x="517" y="703"/>
                  </a:lnTo>
                  <a:lnTo>
                    <a:pt x="531" y="687"/>
                  </a:lnTo>
                  <a:lnTo>
                    <a:pt x="544" y="670"/>
                  </a:lnTo>
                  <a:lnTo>
                    <a:pt x="557" y="652"/>
                  </a:lnTo>
                  <a:lnTo>
                    <a:pt x="569" y="634"/>
                  </a:lnTo>
                  <a:lnTo>
                    <a:pt x="580" y="614"/>
                  </a:lnTo>
                  <a:lnTo>
                    <a:pt x="590" y="594"/>
                  </a:lnTo>
                  <a:lnTo>
                    <a:pt x="599" y="574"/>
                  </a:lnTo>
                  <a:lnTo>
                    <a:pt x="607" y="552"/>
                  </a:lnTo>
                  <a:lnTo>
                    <a:pt x="615" y="531"/>
                  </a:lnTo>
                  <a:lnTo>
                    <a:pt x="622" y="509"/>
                  </a:lnTo>
                  <a:lnTo>
                    <a:pt x="628" y="486"/>
                  </a:lnTo>
                  <a:lnTo>
                    <a:pt x="634" y="463"/>
                  </a:lnTo>
                  <a:lnTo>
                    <a:pt x="638" y="440"/>
                  </a:lnTo>
                  <a:lnTo>
                    <a:pt x="642" y="416"/>
                  </a:lnTo>
                  <a:lnTo>
                    <a:pt x="646" y="392"/>
                  </a:lnTo>
                  <a:lnTo>
                    <a:pt x="648" y="368"/>
                  </a:lnTo>
                  <a:lnTo>
                    <a:pt x="650" y="345"/>
                  </a:lnTo>
                  <a:lnTo>
                    <a:pt x="652" y="321"/>
                  </a:lnTo>
                  <a:lnTo>
                    <a:pt x="653" y="298"/>
                  </a:lnTo>
                  <a:lnTo>
                    <a:pt x="653" y="27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  <a:cs typeface="+mn-cs"/>
              </a:endParaRPr>
            </a:p>
          </p:txBody>
        </p:sp>
        <p:sp>
          <p:nvSpPr>
            <p:cNvPr id="26" name="Freeform 23"/>
            <p:cNvSpPr>
              <a:spLocks/>
            </p:cNvSpPr>
            <p:nvPr/>
          </p:nvSpPr>
          <p:spPr bwMode="gray">
            <a:xfrm>
              <a:off x="1795463" y="3751263"/>
              <a:ext cx="109537" cy="169862"/>
            </a:xfrm>
            <a:custGeom>
              <a:avLst/>
              <a:gdLst/>
              <a:ahLst/>
              <a:cxnLst>
                <a:cxn ang="0">
                  <a:pos x="501" y="120"/>
                </a:cxn>
                <a:cxn ang="0">
                  <a:pos x="479" y="121"/>
                </a:cxn>
                <a:cxn ang="0">
                  <a:pos x="459" y="123"/>
                </a:cxn>
                <a:cxn ang="0">
                  <a:pos x="439" y="125"/>
                </a:cxn>
                <a:cxn ang="0">
                  <a:pos x="421" y="129"/>
                </a:cxn>
                <a:cxn ang="0">
                  <a:pos x="403" y="134"/>
                </a:cxn>
                <a:cxn ang="0">
                  <a:pos x="386" y="139"/>
                </a:cxn>
                <a:cxn ang="0">
                  <a:pos x="370" y="146"/>
                </a:cxn>
                <a:cxn ang="0">
                  <a:pos x="355" y="153"/>
                </a:cxn>
                <a:cxn ang="0">
                  <a:pos x="340" y="163"/>
                </a:cxn>
                <a:cxn ang="0">
                  <a:pos x="326" y="172"/>
                </a:cxn>
                <a:cxn ang="0">
                  <a:pos x="313" y="182"/>
                </a:cxn>
                <a:cxn ang="0">
                  <a:pos x="301" y="192"/>
                </a:cxn>
                <a:cxn ang="0">
                  <a:pos x="290" y="203"/>
                </a:cxn>
                <a:cxn ang="0">
                  <a:pos x="279" y="215"/>
                </a:cxn>
                <a:cxn ang="0">
                  <a:pos x="269" y="228"/>
                </a:cxn>
                <a:cxn ang="0">
                  <a:pos x="260" y="241"/>
                </a:cxn>
                <a:cxn ang="0">
                  <a:pos x="251" y="255"/>
                </a:cxn>
                <a:cxn ang="0">
                  <a:pos x="242" y="269"/>
                </a:cxn>
                <a:cxn ang="0">
                  <a:pos x="234" y="283"/>
                </a:cxn>
                <a:cxn ang="0">
                  <a:pos x="227" y="298"/>
                </a:cxn>
                <a:cxn ang="0">
                  <a:pos x="220" y="314"/>
                </a:cxn>
                <a:cxn ang="0">
                  <a:pos x="214" y="330"/>
                </a:cxn>
                <a:cxn ang="0">
                  <a:pos x="208" y="346"/>
                </a:cxn>
                <a:cxn ang="0">
                  <a:pos x="202" y="362"/>
                </a:cxn>
                <a:cxn ang="0">
                  <a:pos x="192" y="396"/>
                </a:cxn>
                <a:cxn ang="0">
                  <a:pos x="184" y="430"/>
                </a:cxn>
                <a:cxn ang="0">
                  <a:pos x="177" y="465"/>
                </a:cxn>
                <a:cxn ang="0">
                  <a:pos x="170" y="500"/>
                </a:cxn>
                <a:cxn ang="0">
                  <a:pos x="114" y="790"/>
                </a:cxn>
                <a:cxn ang="0">
                  <a:pos x="0" y="790"/>
                </a:cxn>
                <a:cxn ang="0">
                  <a:pos x="146" y="16"/>
                </a:cxn>
                <a:cxn ang="0">
                  <a:pos x="259" y="16"/>
                </a:cxn>
                <a:cxn ang="0">
                  <a:pos x="234" y="170"/>
                </a:cxn>
                <a:cxn ang="0">
                  <a:pos x="245" y="147"/>
                </a:cxn>
                <a:cxn ang="0">
                  <a:pos x="257" y="127"/>
                </a:cxn>
                <a:cxn ang="0">
                  <a:pos x="270" y="108"/>
                </a:cxn>
                <a:cxn ang="0">
                  <a:pos x="284" y="91"/>
                </a:cxn>
                <a:cxn ang="0">
                  <a:pos x="299" y="76"/>
                </a:cxn>
                <a:cxn ang="0">
                  <a:pos x="314" y="62"/>
                </a:cxn>
                <a:cxn ang="0">
                  <a:pos x="331" y="50"/>
                </a:cxn>
                <a:cxn ang="0">
                  <a:pos x="349" y="39"/>
                </a:cxn>
                <a:cxn ang="0">
                  <a:pos x="367" y="30"/>
                </a:cxn>
                <a:cxn ang="0">
                  <a:pos x="386" y="22"/>
                </a:cxn>
                <a:cxn ang="0">
                  <a:pos x="406" y="15"/>
                </a:cxn>
                <a:cxn ang="0">
                  <a:pos x="426" y="9"/>
                </a:cxn>
                <a:cxn ang="0">
                  <a:pos x="448" y="5"/>
                </a:cxn>
                <a:cxn ang="0">
                  <a:pos x="470" y="2"/>
                </a:cxn>
                <a:cxn ang="0">
                  <a:pos x="493" y="0"/>
                </a:cxn>
                <a:cxn ang="0">
                  <a:pos x="517" y="0"/>
                </a:cxn>
                <a:cxn ang="0">
                  <a:pos x="501" y="120"/>
                </a:cxn>
              </a:cxnLst>
              <a:rect l="0" t="0" r="r" b="b"/>
              <a:pathLst>
                <a:path w="517" h="790">
                  <a:moveTo>
                    <a:pt x="501" y="120"/>
                  </a:moveTo>
                  <a:lnTo>
                    <a:pt x="479" y="121"/>
                  </a:lnTo>
                  <a:lnTo>
                    <a:pt x="459" y="123"/>
                  </a:lnTo>
                  <a:lnTo>
                    <a:pt x="439" y="125"/>
                  </a:lnTo>
                  <a:lnTo>
                    <a:pt x="421" y="129"/>
                  </a:lnTo>
                  <a:lnTo>
                    <a:pt x="403" y="134"/>
                  </a:lnTo>
                  <a:lnTo>
                    <a:pt x="386" y="139"/>
                  </a:lnTo>
                  <a:lnTo>
                    <a:pt x="370" y="146"/>
                  </a:lnTo>
                  <a:lnTo>
                    <a:pt x="355" y="153"/>
                  </a:lnTo>
                  <a:lnTo>
                    <a:pt x="340" y="163"/>
                  </a:lnTo>
                  <a:lnTo>
                    <a:pt x="326" y="172"/>
                  </a:lnTo>
                  <a:lnTo>
                    <a:pt x="313" y="182"/>
                  </a:lnTo>
                  <a:lnTo>
                    <a:pt x="301" y="192"/>
                  </a:lnTo>
                  <a:lnTo>
                    <a:pt x="290" y="203"/>
                  </a:lnTo>
                  <a:lnTo>
                    <a:pt x="279" y="215"/>
                  </a:lnTo>
                  <a:lnTo>
                    <a:pt x="269" y="228"/>
                  </a:lnTo>
                  <a:lnTo>
                    <a:pt x="260" y="241"/>
                  </a:lnTo>
                  <a:lnTo>
                    <a:pt x="251" y="255"/>
                  </a:lnTo>
                  <a:lnTo>
                    <a:pt x="242" y="269"/>
                  </a:lnTo>
                  <a:lnTo>
                    <a:pt x="234" y="283"/>
                  </a:lnTo>
                  <a:lnTo>
                    <a:pt x="227" y="298"/>
                  </a:lnTo>
                  <a:lnTo>
                    <a:pt x="220" y="314"/>
                  </a:lnTo>
                  <a:lnTo>
                    <a:pt x="214" y="330"/>
                  </a:lnTo>
                  <a:lnTo>
                    <a:pt x="208" y="346"/>
                  </a:lnTo>
                  <a:lnTo>
                    <a:pt x="202" y="362"/>
                  </a:lnTo>
                  <a:lnTo>
                    <a:pt x="192" y="396"/>
                  </a:lnTo>
                  <a:lnTo>
                    <a:pt x="184" y="430"/>
                  </a:lnTo>
                  <a:lnTo>
                    <a:pt x="177" y="465"/>
                  </a:lnTo>
                  <a:lnTo>
                    <a:pt x="170" y="500"/>
                  </a:lnTo>
                  <a:lnTo>
                    <a:pt x="114" y="790"/>
                  </a:lnTo>
                  <a:lnTo>
                    <a:pt x="0" y="790"/>
                  </a:lnTo>
                  <a:lnTo>
                    <a:pt x="146" y="16"/>
                  </a:lnTo>
                  <a:lnTo>
                    <a:pt x="259" y="16"/>
                  </a:lnTo>
                  <a:lnTo>
                    <a:pt x="234" y="170"/>
                  </a:lnTo>
                  <a:lnTo>
                    <a:pt x="245" y="147"/>
                  </a:lnTo>
                  <a:lnTo>
                    <a:pt x="257" y="127"/>
                  </a:lnTo>
                  <a:lnTo>
                    <a:pt x="270" y="108"/>
                  </a:lnTo>
                  <a:lnTo>
                    <a:pt x="284" y="91"/>
                  </a:lnTo>
                  <a:lnTo>
                    <a:pt x="299" y="76"/>
                  </a:lnTo>
                  <a:lnTo>
                    <a:pt x="314" y="62"/>
                  </a:lnTo>
                  <a:lnTo>
                    <a:pt x="331" y="50"/>
                  </a:lnTo>
                  <a:lnTo>
                    <a:pt x="349" y="39"/>
                  </a:lnTo>
                  <a:lnTo>
                    <a:pt x="367" y="30"/>
                  </a:lnTo>
                  <a:lnTo>
                    <a:pt x="386" y="22"/>
                  </a:lnTo>
                  <a:lnTo>
                    <a:pt x="406" y="15"/>
                  </a:lnTo>
                  <a:lnTo>
                    <a:pt x="426" y="9"/>
                  </a:lnTo>
                  <a:lnTo>
                    <a:pt x="448" y="5"/>
                  </a:lnTo>
                  <a:lnTo>
                    <a:pt x="470" y="2"/>
                  </a:lnTo>
                  <a:lnTo>
                    <a:pt x="493" y="0"/>
                  </a:lnTo>
                  <a:lnTo>
                    <a:pt x="517" y="0"/>
                  </a:lnTo>
                  <a:lnTo>
                    <a:pt x="501" y="1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  <a:cs typeface="+mn-cs"/>
              </a:endParaRPr>
            </a:p>
          </p:txBody>
        </p:sp>
        <p:sp>
          <p:nvSpPr>
            <p:cNvPr id="27" name="Freeform 24"/>
            <p:cNvSpPr>
              <a:spLocks/>
            </p:cNvSpPr>
            <p:nvPr/>
          </p:nvSpPr>
          <p:spPr bwMode="gray">
            <a:xfrm>
              <a:off x="1895475" y="3751263"/>
              <a:ext cx="227013" cy="169862"/>
            </a:xfrm>
            <a:custGeom>
              <a:avLst/>
              <a:gdLst/>
              <a:ahLst/>
              <a:cxnLst>
                <a:cxn ang="0">
                  <a:pos x="831" y="790"/>
                </a:cxn>
                <a:cxn ang="0">
                  <a:pos x="931" y="263"/>
                </a:cxn>
                <a:cxn ang="0">
                  <a:pos x="935" y="217"/>
                </a:cxn>
                <a:cxn ang="0">
                  <a:pos x="934" y="184"/>
                </a:cxn>
                <a:cxn ang="0">
                  <a:pos x="927" y="157"/>
                </a:cxn>
                <a:cxn ang="0">
                  <a:pos x="914" y="134"/>
                </a:cxn>
                <a:cxn ang="0">
                  <a:pos x="895" y="117"/>
                </a:cxn>
                <a:cxn ang="0">
                  <a:pos x="873" y="106"/>
                </a:cxn>
                <a:cxn ang="0">
                  <a:pos x="840" y="105"/>
                </a:cxn>
                <a:cxn ang="0">
                  <a:pos x="796" y="117"/>
                </a:cxn>
                <a:cxn ang="0">
                  <a:pos x="757" y="141"/>
                </a:cxn>
                <a:cxn ang="0">
                  <a:pos x="722" y="176"/>
                </a:cxn>
                <a:cxn ang="0">
                  <a:pos x="690" y="218"/>
                </a:cxn>
                <a:cxn ang="0">
                  <a:pos x="663" y="266"/>
                </a:cxn>
                <a:cxn ang="0">
                  <a:pos x="621" y="369"/>
                </a:cxn>
                <a:cxn ang="0">
                  <a:pos x="593" y="469"/>
                </a:cxn>
                <a:cxn ang="0">
                  <a:pos x="533" y="790"/>
                </a:cxn>
                <a:cxn ang="0">
                  <a:pos x="515" y="299"/>
                </a:cxn>
                <a:cxn ang="0">
                  <a:pos x="523" y="233"/>
                </a:cxn>
                <a:cxn ang="0">
                  <a:pos x="524" y="193"/>
                </a:cxn>
                <a:cxn ang="0">
                  <a:pos x="519" y="166"/>
                </a:cxn>
                <a:cxn ang="0">
                  <a:pos x="507" y="142"/>
                </a:cxn>
                <a:cxn ang="0">
                  <a:pos x="489" y="122"/>
                </a:cxn>
                <a:cxn ang="0">
                  <a:pos x="465" y="109"/>
                </a:cxn>
                <a:cxn ang="0">
                  <a:pos x="436" y="104"/>
                </a:cxn>
                <a:cxn ang="0">
                  <a:pos x="392" y="112"/>
                </a:cxn>
                <a:cxn ang="0">
                  <a:pos x="353" y="132"/>
                </a:cxn>
                <a:cxn ang="0">
                  <a:pos x="318" y="164"/>
                </a:cxn>
                <a:cxn ang="0">
                  <a:pos x="287" y="204"/>
                </a:cxn>
                <a:cxn ang="0">
                  <a:pos x="260" y="250"/>
                </a:cxn>
                <a:cxn ang="0">
                  <a:pos x="222" y="335"/>
                </a:cxn>
                <a:cxn ang="0">
                  <a:pos x="190" y="437"/>
                </a:cxn>
                <a:cxn ang="0">
                  <a:pos x="170" y="524"/>
                </a:cxn>
                <a:cxn ang="0">
                  <a:pos x="154" y="16"/>
                </a:cxn>
                <a:cxn ang="0">
                  <a:pos x="235" y="178"/>
                </a:cxn>
                <a:cxn ang="0">
                  <a:pos x="271" y="122"/>
                </a:cxn>
                <a:cxn ang="0">
                  <a:pos x="310" y="75"/>
                </a:cxn>
                <a:cxn ang="0">
                  <a:pos x="354" y="38"/>
                </a:cxn>
                <a:cxn ang="0">
                  <a:pos x="406" y="13"/>
                </a:cxn>
                <a:cxn ang="0">
                  <a:pos x="469" y="1"/>
                </a:cxn>
                <a:cxn ang="0">
                  <a:pos x="529" y="3"/>
                </a:cxn>
                <a:cxn ang="0">
                  <a:pos x="572" y="21"/>
                </a:cxn>
                <a:cxn ang="0">
                  <a:pos x="604" y="51"/>
                </a:cxn>
                <a:cxn ang="0">
                  <a:pos x="625" y="90"/>
                </a:cxn>
                <a:cxn ang="0">
                  <a:pos x="635" y="136"/>
                </a:cxn>
                <a:cxn ang="0">
                  <a:pos x="645" y="170"/>
                </a:cxn>
                <a:cxn ang="0">
                  <a:pos x="682" y="117"/>
                </a:cxn>
                <a:cxn ang="0">
                  <a:pos x="722" y="73"/>
                </a:cxn>
                <a:cxn ang="0">
                  <a:pos x="768" y="37"/>
                </a:cxn>
                <a:cxn ang="0">
                  <a:pos x="822" y="13"/>
                </a:cxn>
                <a:cxn ang="0">
                  <a:pos x="887" y="1"/>
                </a:cxn>
                <a:cxn ang="0">
                  <a:pos x="943" y="3"/>
                </a:cxn>
                <a:cxn ang="0">
                  <a:pos x="985" y="19"/>
                </a:cxn>
                <a:cxn ang="0">
                  <a:pos x="1018" y="47"/>
                </a:cxn>
                <a:cxn ang="0">
                  <a:pos x="1041" y="84"/>
                </a:cxn>
                <a:cxn ang="0">
                  <a:pos x="1055" y="128"/>
                </a:cxn>
                <a:cxn ang="0">
                  <a:pos x="1057" y="179"/>
                </a:cxn>
                <a:cxn ang="0">
                  <a:pos x="1052" y="229"/>
                </a:cxn>
              </a:cxnLst>
              <a:rect l="0" t="0" r="r" b="b"/>
              <a:pathLst>
                <a:path w="1057" h="790">
                  <a:moveTo>
                    <a:pt x="1041" y="290"/>
                  </a:moveTo>
                  <a:lnTo>
                    <a:pt x="944" y="790"/>
                  </a:lnTo>
                  <a:lnTo>
                    <a:pt x="831" y="790"/>
                  </a:lnTo>
                  <a:lnTo>
                    <a:pt x="920" y="330"/>
                  </a:lnTo>
                  <a:lnTo>
                    <a:pt x="925" y="296"/>
                  </a:lnTo>
                  <a:lnTo>
                    <a:pt x="931" y="263"/>
                  </a:lnTo>
                  <a:lnTo>
                    <a:pt x="933" y="247"/>
                  </a:lnTo>
                  <a:lnTo>
                    <a:pt x="934" y="232"/>
                  </a:lnTo>
                  <a:lnTo>
                    <a:pt x="935" y="217"/>
                  </a:lnTo>
                  <a:lnTo>
                    <a:pt x="936" y="202"/>
                  </a:lnTo>
                  <a:lnTo>
                    <a:pt x="935" y="193"/>
                  </a:lnTo>
                  <a:lnTo>
                    <a:pt x="934" y="184"/>
                  </a:lnTo>
                  <a:lnTo>
                    <a:pt x="932" y="175"/>
                  </a:lnTo>
                  <a:lnTo>
                    <a:pt x="930" y="166"/>
                  </a:lnTo>
                  <a:lnTo>
                    <a:pt x="927" y="157"/>
                  </a:lnTo>
                  <a:lnTo>
                    <a:pt x="923" y="149"/>
                  </a:lnTo>
                  <a:lnTo>
                    <a:pt x="919" y="142"/>
                  </a:lnTo>
                  <a:lnTo>
                    <a:pt x="914" y="134"/>
                  </a:lnTo>
                  <a:lnTo>
                    <a:pt x="908" y="128"/>
                  </a:lnTo>
                  <a:lnTo>
                    <a:pt x="902" y="122"/>
                  </a:lnTo>
                  <a:lnTo>
                    <a:pt x="895" y="117"/>
                  </a:lnTo>
                  <a:lnTo>
                    <a:pt x="888" y="113"/>
                  </a:lnTo>
                  <a:lnTo>
                    <a:pt x="881" y="109"/>
                  </a:lnTo>
                  <a:lnTo>
                    <a:pt x="873" y="106"/>
                  </a:lnTo>
                  <a:lnTo>
                    <a:pt x="864" y="105"/>
                  </a:lnTo>
                  <a:lnTo>
                    <a:pt x="855" y="104"/>
                  </a:lnTo>
                  <a:lnTo>
                    <a:pt x="840" y="105"/>
                  </a:lnTo>
                  <a:lnTo>
                    <a:pt x="825" y="108"/>
                  </a:lnTo>
                  <a:lnTo>
                    <a:pt x="810" y="112"/>
                  </a:lnTo>
                  <a:lnTo>
                    <a:pt x="796" y="117"/>
                  </a:lnTo>
                  <a:lnTo>
                    <a:pt x="782" y="124"/>
                  </a:lnTo>
                  <a:lnTo>
                    <a:pt x="769" y="132"/>
                  </a:lnTo>
                  <a:lnTo>
                    <a:pt x="757" y="141"/>
                  </a:lnTo>
                  <a:lnTo>
                    <a:pt x="745" y="152"/>
                  </a:lnTo>
                  <a:lnTo>
                    <a:pt x="733" y="164"/>
                  </a:lnTo>
                  <a:lnTo>
                    <a:pt x="722" y="176"/>
                  </a:lnTo>
                  <a:lnTo>
                    <a:pt x="711" y="190"/>
                  </a:lnTo>
                  <a:lnTo>
                    <a:pt x="700" y="204"/>
                  </a:lnTo>
                  <a:lnTo>
                    <a:pt x="690" y="218"/>
                  </a:lnTo>
                  <a:lnTo>
                    <a:pt x="681" y="234"/>
                  </a:lnTo>
                  <a:lnTo>
                    <a:pt x="672" y="250"/>
                  </a:lnTo>
                  <a:lnTo>
                    <a:pt x="663" y="266"/>
                  </a:lnTo>
                  <a:lnTo>
                    <a:pt x="648" y="300"/>
                  </a:lnTo>
                  <a:lnTo>
                    <a:pt x="634" y="335"/>
                  </a:lnTo>
                  <a:lnTo>
                    <a:pt x="621" y="369"/>
                  </a:lnTo>
                  <a:lnTo>
                    <a:pt x="610" y="404"/>
                  </a:lnTo>
                  <a:lnTo>
                    <a:pt x="601" y="437"/>
                  </a:lnTo>
                  <a:lnTo>
                    <a:pt x="593" y="469"/>
                  </a:lnTo>
                  <a:lnTo>
                    <a:pt x="586" y="498"/>
                  </a:lnTo>
                  <a:lnTo>
                    <a:pt x="581" y="524"/>
                  </a:lnTo>
                  <a:lnTo>
                    <a:pt x="533" y="790"/>
                  </a:lnTo>
                  <a:lnTo>
                    <a:pt x="419" y="790"/>
                  </a:lnTo>
                  <a:lnTo>
                    <a:pt x="509" y="330"/>
                  </a:lnTo>
                  <a:lnTo>
                    <a:pt x="515" y="299"/>
                  </a:lnTo>
                  <a:lnTo>
                    <a:pt x="520" y="266"/>
                  </a:lnTo>
                  <a:lnTo>
                    <a:pt x="522" y="250"/>
                  </a:lnTo>
                  <a:lnTo>
                    <a:pt x="523" y="233"/>
                  </a:lnTo>
                  <a:lnTo>
                    <a:pt x="524" y="217"/>
                  </a:lnTo>
                  <a:lnTo>
                    <a:pt x="525" y="202"/>
                  </a:lnTo>
                  <a:lnTo>
                    <a:pt x="524" y="193"/>
                  </a:lnTo>
                  <a:lnTo>
                    <a:pt x="523" y="184"/>
                  </a:lnTo>
                  <a:lnTo>
                    <a:pt x="521" y="175"/>
                  </a:lnTo>
                  <a:lnTo>
                    <a:pt x="519" y="166"/>
                  </a:lnTo>
                  <a:lnTo>
                    <a:pt x="516" y="157"/>
                  </a:lnTo>
                  <a:lnTo>
                    <a:pt x="512" y="149"/>
                  </a:lnTo>
                  <a:lnTo>
                    <a:pt x="507" y="142"/>
                  </a:lnTo>
                  <a:lnTo>
                    <a:pt x="502" y="134"/>
                  </a:lnTo>
                  <a:lnTo>
                    <a:pt x="496" y="128"/>
                  </a:lnTo>
                  <a:lnTo>
                    <a:pt x="489" y="122"/>
                  </a:lnTo>
                  <a:lnTo>
                    <a:pt x="482" y="117"/>
                  </a:lnTo>
                  <a:lnTo>
                    <a:pt x="474" y="113"/>
                  </a:lnTo>
                  <a:lnTo>
                    <a:pt x="465" y="109"/>
                  </a:lnTo>
                  <a:lnTo>
                    <a:pt x="456" y="106"/>
                  </a:lnTo>
                  <a:lnTo>
                    <a:pt x="447" y="105"/>
                  </a:lnTo>
                  <a:lnTo>
                    <a:pt x="436" y="104"/>
                  </a:lnTo>
                  <a:lnTo>
                    <a:pt x="421" y="105"/>
                  </a:lnTo>
                  <a:lnTo>
                    <a:pt x="406" y="108"/>
                  </a:lnTo>
                  <a:lnTo>
                    <a:pt x="392" y="112"/>
                  </a:lnTo>
                  <a:lnTo>
                    <a:pt x="379" y="117"/>
                  </a:lnTo>
                  <a:lnTo>
                    <a:pt x="366" y="124"/>
                  </a:lnTo>
                  <a:lnTo>
                    <a:pt x="353" y="132"/>
                  </a:lnTo>
                  <a:lnTo>
                    <a:pt x="341" y="141"/>
                  </a:lnTo>
                  <a:lnTo>
                    <a:pt x="330" y="152"/>
                  </a:lnTo>
                  <a:lnTo>
                    <a:pt x="318" y="164"/>
                  </a:lnTo>
                  <a:lnTo>
                    <a:pt x="308" y="176"/>
                  </a:lnTo>
                  <a:lnTo>
                    <a:pt x="297" y="190"/>
                  </a:lnTo>
                  <a:lnTo>
                    <a:pt x="287" y="204"/>
                  </a:lnTo>
                  <a:lnTo>
                    <a:pt x="278" y="218"/>
                  </a:lnTo>
                  <a:lnTo>
                    <a:pt x="269" y="234"/>
                  </a:lnTo>
                  <a:lnTo>
                    <a:pt x="260" y="250"/>
                  </a:lnTo>
                  <a:lnTo>
                    <a:pt x="252" y="266"/>
                  </a:lnTo>
                  <a:lnTo>
                    <a:pt x="236" y="300"/>
                  </a:lnTo>
                  <a:lnTo>
                    <a:pt x="222" y="335"/>
                  </a:lnTo>
                  <a:lnTo>
                    <a:pt x="210" y="369"/>
                  </a:lnTo>
                  <a:lnTo>
                    <a:pt x="199" y="404"/>
                  </a:lnTo>
                  <a:lnTo>
                    <a:pt x="190" y="437"/>
                  </a:lnTo>
                  <a:lnTo>
                    <a:pt x="182" y="469"/>
                  </a:lnTo>
                  <a:lnTo>
                    <a:pt x="175" y="498"/>
                  </a:lnTo>
                  <a:lnTo>
                    <a:pt x="170" y="524"/>
                  </a:lnTo>
                  <a:lnTo>
                    <a:pt x="113" y="790"/>
                  </a:lnTo>
                  <a:lnTo>
                    <a:pt x="0" y="790"/>
                  </a:lnTo>
                  <a:lnTo>
                    <a:pt x="154" y="16"/>
                  </a:lnTo>
                  <a:lnTo>
                    <a:pt x="267" y="16"/>
                  </a:lnTo>
                  <a:lnTo>
                    <a:pt x="235" y="170"/>
                  </a:lnTo>
                  <a:lnTo>
                    <a:pt x="235" y="178"/>
                  </a:lnTo>
                  <a:lnTo>
                    <a:pt x="247" y="157"/>
                  </a:lnTo>
                  <a:lnTo>
                    <a:pt x="259" y="139"/>
                  </a:lnTo>
                  <a:lnTo>
                    <a:pt x="271" y="122"/>
                  </a:lnTo>
                  <a:lnTo>
                    <a:pt x="284" y="105"/>
                  </a:lnTo>
                  <a:lnTo>
                    <a:pt x="297" y="89"/>
                  </a:lnTo>
                  <a:lnTo>
                    <a:pt x="310" y="75"/>
                  </a:lnTo>
                  <a:lnTo>
                    <a:pt x="324" y="61"/>
                  </a:lnTo>
                  <a:lnTo>
                    <a:pt x="339" y="49"/>
                  </a:lnTo>
                  <a:lnTo>
                    <a:pt x="354" y="38"/>
                  </a:lnTo>
                  <a:lnTo>
                    <a:pt x="371" y="28"/>
                  </a:lnTo>
                  <a:lnTo>
                    <a:pt x="388" y="20"/>
                  </a:lnTo>
                  <a:lnTo>
                    <a:pt x="406" y="13"/>
                  </a:lnTo>
                  <a:lnTo>
                    <a:pt x="426" y="7"/>
                  </a:lnTo>
                  <a:lnTo>
                    <a:pt x="447" y="3"/>
                  </a:lnTo>
                  <a:lnTo>
                    <a:pt x="469" y="1"/>
                  </a:lnTo>
                  <a:lnTo>
                    <a:pt x="493" y="0"/>
                  </a:lnTo>
                  <a:lnTo>
                    <a:pt x="511" y="1"/>
                  </a:lnTo>
                  <a:lnTo>
                    <a:pt x="529" y="3"/>
                  </a:lnTo>
                  <a:lnTo>
                    <a:pt x="545" y="8"/>
                  </a:lnTo>
                  <a:lnTo>
                    <a:pt x="559" y="14"/>
                  </a:lnTo>
                  <a:lnTo>
                    <a:pt x="572" y="21"/>
                  </a:lnTo>
                  <a:lnTo>
                    <a:pt x="584" y="30"/>
                  </a:lnTo>
                  <a:lnTo>
                    <a:pt x="595" y="40"/>
                  </a:lnTo>
                  <a:lnTo>
                    <a:pt x="604" y="51"/>
                  </a:lnTo>
                  <a:lnTo>
                    <a:pt x="612" y="63"/>
                  </a:lnTo>
                  <a:lnTo>
                    <a:pt x="619" y="76"/>
                  </a:lnTo>
                  <a:lnTo>
                    <a:pt x="625" y="90"/>
                  </a:lnTo>
                  <a:lnTo>
                    <a:pt x="629" y="105"/>
                  </a:lnTo>
                  <a:lnTo>
                    <a:pt x="633" y="120"/>
                  </a:lnTo>
                  <a:lnTo>
                    <a:pt x="635" y="136"/>
                  </a:lnTo>
                  <a:lnTo>
                    <a:pt x="637" y="152"/>
                  </a:lnTo>
                  <a:lnTo>
                    <a:pt x="637" y="170"/>
                  </a:lnTo>
                  <a:lnTo>
                    <a:pt x="645" y="170"/>
                  </a:lnTo>
                  <a:lnTo>
                    <a:pt x="657" y="151"/>
                  </a:lnTo>
                  <a:lnTo>
                    <a:pt x="670" y="134"/>
                  </a:lnTo>
                  <a:lnTo>
                    <a:pt x="682" y="117"/>
                  </a:lnTo>
                  <a:lnTo>
                    <a:pt x="695" y="102"/>
                  </a:lnTo>
                  <a:lnTo>
                    <a:pt x="709" y="87"/>
                  </a:lnTo>
                  <a:lnTo>
                    <a:pt x="722" y="73"/>
                  </a:lnTo>
                  <a:lnTo>
                    <a:pt x="737" y="60"/>
                  </a:lnTo>
                  <a:lnTo>
                    <a:pt x="752" y="48"/>
                  </a:lnTo>
                  <a:lnTo>
                    <a:pt x="768" y="37"/>
                  </a:lnTo>
                  <a:lnTo>
                    <a:pt x="785" y="28"/>
                  </a:lnTo>
                  <a:lnTo>
                    <a:pt x="802" y="20"/>
                  </a:lnTo>
                  <a:lnTo>
                    <a:pt x="822" y="13"/>
                  </a:lnTo>
                  <a:lnTo>
                    <a:pt x="842" y="7"/>
                  </a:lnTo>
                  <a:lnTo>
                    <a:pt x="864" y="3"/>
                  </a:lnTo>
                  <a:lnTo>
                    <a:pt x="887" y="1"/>
                  </a:lnTo>
                  <a:lnTo>
                    <a:pt x="912" y="0"/>
                  </a:lnTo>
                  <a:lnTo>
                    <a:pt x="928" y="1"/>
                  </a:lnTo>
                  <a:lnTo>
                    <a:pt x="943" y="3"/>
                  </a:lnTo>
                  <a:lnTo>
                    <a:pt x="958" y="7"/>
                  </a:lnTo>
                  <a:lnTo>
                    <a:pt x="971" y="13"/>
                  </a:lnTo>
                  <a:lnTo>
                    <a:pt x="985" y="19"/>
                  </a:lnTo>
                  <a:lnTo>
                    <a:pt x="997" y="27"/>
                  </a:lnTo>
                  <a:lnTo>
                    <a:pt x="1008" y="37"/>
                  </a:lnTo>
                  <a:lnTo>
                    <a:pt x="1018" y="47"/>
                  </a:lnTo>
                  <a:lnTo>
                    <a:pt x="1027" y="59"/>
                  </a:lnTo>
                  <a:lnTo>
                    <a:pt x="1035" y="71"/>
                  </a:lnTo>
                  <a:lnTo>
                    <a:pt x="1041" y="84"/>
                  </a:lnTo>
                  <a:lnTo>
                    <a:pt x="1047" y="98"/>
                  </a:lnTo>
                  <a:lnTo>
                    <a:pt x="1051" y="113"/>
                  </a:lnTo>
                  <a:lnTo>
                    <a:pt x="1055" y="128"/>
                  </a:lnTo>
                  <a:lnTo>
                    <a:pt x="1057" y="144"/>
                  </a:lnTo>
                  <a:lnTo>
                    <a:pt x="1057" y="162"/>
                  </a:lnTo>
                  <a:lnTo>
                    <a:pt x="1057" y="179"/>
                  </a:lnTo>
                  <a:lnTo>
                    <a:pt x="1056" y="196"/>
                  </a:lnTo>
                  <a:lnTo>
                    <a:pt x="1054" y="213"/>
                  </a:lnTo>
                  <a:lnTo>
                    <a:pt x="1052" y="229"/>
                  </a:lnTo>
                  <a:lnTo>
                    <a:pt x="1047" y="260"/>
                  </a:lnTo>
                  <a:lnTo>
                    <a:pt x="1041" y="29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  <a:cs typeface="+mn-cs"/>
              </a:endParaRPr>
            </a:p>
          </p:txBody>
        </p:sp>
        <p:sp>
          <p:nvSpPr>
            <p:cNvPr id="28" name="Freeform 25"/>
            <p:cNvSpPr>
              <a:spLocks noEditPoints="1"/>
            </p:cNvSpPr>
            <p:nvPr/>
          </p:nvSpPr>
          <p:spPr bwMode="gray">
            <a:xfrm>
              <a:off x="2141538" y="3751263"/>
              <a:ext cx="141287" cy="173037"/>
            </a:xfrm>
            <a:custGeom>
              <a:avLst/>
              <a:gdLst/>
              <a:ahLst/>
              <a:cxnLst>
                <a:cxn ang="0">
                  <a:pos x="481" y="355"/>
                </a:cxn>
                <a:cxn ang="0">
                  <a:pos x="464" y="455"/>
                </a:cxn>
                <a:cxn ang="0">
                  <a:pos x="443" y="523"/>
                </a:cxn>
                <a:cxn ang="0">
                  <a:pos x="423" y="571"/>
                </a:cxn>
                <a:cxn ang="0">
                  <a:pos x="399" y="615"/>
                </a:cxn>
                <a:cxn ang="0">
                  <a:pos x="368" y="653"/>
                </a:cxn>
                <a:cxn ang="0">
                  <a:pos x="334" y="683"/>
                </a:cxn>
                <a:cxn ang="0">
                  <a:pos x="294" y="702"/>
                </a:cxn>
                <a:cxn ang="0">
                  <a:pos x="250" y="709"/>
                </a:cxn>
                <a:cxn ang="0">
                  <a:pos x="221" y="706"/>
                </a:cxn>
                <a:cxn ang="0">
                  <a:pos x="197" y="699"/>
                </a:cxn>
                <a:cxn ang="0">
                  <a:pos x="177" y="687"/>
                </a:cxn>
                <a:cxn ang="0">
                  <a:pos x="162" y="672"/>
                </a:cxn>
                <a:cxn ang="0">
                  <a:pos x="142" y="633"/>
                </a:cxn>
                <a:cxn ang="0">
                  <a:pos x="132" y="587"/>
                </a:cxn>
                <a:cxn ang="0">
                  <a:pos x="130" y="498"/>
                </a:cxn>
                <a:cxn ang="0">
                  <a:pos x="140" y="401"/>
                </a:cxn>
                <a:cxn ang="0">
                  <a:pos x="165" y="293"/>
                </a:cxn>
                <a:cxn ang="0">
                  <a:pos x="191" y="224"/>
                </a:cxn>
                <a:cxn ang="0">
                  <a:pos x="215" y="178"/>
                </a:cxn>
                <a:cxn ang="0">
                  <a:pos x="244" y="138"/>
                </a:cxn>
                <a:cxn ang="0">
                  <a:pos x="278" y="109"/>
                </a:cxn>
                <a:cxn ang="0">
                  <a:pos x="317" y="92"/>
                </a:cxn>
                <a:cxn ang="0">
                  <a:pos x="356" y="89"/>
                </a:cxn>
                <a:cxn ang="0">
                  <a:pos x="382" y="94"/>
                </a:cxn>
                <a:cxn ang="0">
                  <a:pos x="406" y="104"/>
                </a:cxn>
                <a:cxn ang="0">
                  <a:pos x="425" y="119"/>
                </a:cxn>
                <a:cxn ang="0">
                  <a:pos x="446" y="145"/>
                </a:cxn>
                <a:cxn ang="0">
                  <a:pos x="468" y="193"/>
                </a:cxn>
                <a:cxn ang="0">
                  <a:pos x="480" y="246"/>
                </a:cxn>
                <a:cxn ang="0">
                  <a:pos x="484" y="298"/>
                </a:cxn>
                <a:cxn ang="0">
                  <a:pos x="524" y="136"/>
                </a:cxn>
                <a:cxn ang="0">
                  <a:pos x="505" y="94"/>
                </a:cxn>
                <a:cxn ang="0">
                  <a:pos x="478" y="58"/>
                </a:cxn>
                <a:cxn ang="0">
                  <a:pos x="443" y="30"/>
                </a:cxn>
                <a:cxn ang="0">
                  <a:pos x="402" y="10"/>
                </a:cxn>
                <a:cxn ang="0">
                  <a:pos x="354" y="1"/>
                </a:cxn>
                <a:cxn ang="0">
                  <a:pos x="295" y="4"/>
                </a:cxn>
                <a:cxn ang="0">
                  <a:pos x="235" y="23"/>
                </a:cxn>
                <a:cxn ang="0">
                  <a:pos x="184" y="56"/>
                </a:cxn>
                <a:cxn ang="0">
                  <a:pos x="139" y="100"/>
                </a:cxn>
                <a:cxn ang="0">
                  <a:pos x="100" y="154"/>
                </a:cxn>
                <a:cxn ang="0">
                  <a:pos x="68" y="216"/>
                </a:cxn>
                <a:cxn ang="0">
                  <a:pos x="43" y="281"/>
                </a:cxn>
                <a:cxn ang="0">
                  <a:pos x="24" y="348"/>
                </a:cxn>
                <a:cxn ang="0">
                  <a:pos x="10" y="415"/>
                </a:cxn>
                <a:cxn ang="0">
                  <a:pos x="2" y="481"/>
                </a:cxn>
                <a:cxn ang="0">
                  <a:pos x="0" y="540"/>
                </a:cxn>
                <a:cxn ang="0">
                  <a:pos x="6" y="613"/>
                </a:cxn>
                <a:cxn ang="0">
                  <a:pos x="25" y="681"/>
                </a:cxn>
                <a:cxn ang="0">
                  <a:pos x="41" y="712"/>
                </a:cxn>
                <a:cxn ang="0">
                  <a:pos x="60" y="740"/>
                </a:cxn>
                <a:cxn ang="0">
                  <a:pos x="84" y="764"/>
                </a:cxn>
                <a:cxn ang="0">
                  <a:pos x="111" y="783"/>
                </a:cxn>
                <a:cxn ang="0">
                  <a:pos x="145" y="797"/>
                </a:cxn>
                <a:cxn ang="0">
                  <a:pos x="182" y="805"/>
                </a:cxn>
                <a:cxn ang="0">
                  <a:pos x="229" y="806"/>
                </a:cxn>
                <a:cxn ang="0">
                  <a:pos x="279" y="796"/>
                </a:cxn>
                <a:cxn ang="0">
                  <a:pos x="322" y="776"/>
                </a:cxn>
                <a:cxn ang="0">
                  <a:pos x="359" y="747"/>
                </a:cxn>
                <a:cxn ang="0">
                  <a:pos x="390" y="707"/>
                </a:cxn>
                <a:cxn ang="0">
                  <a:pos x="419" y="661"/>
                </a:cxn>
                <a:cxn ang="0">
                  <a:pos x="516" y="790"/>
                </a:cxn>
              </a:cxnLst>
              <a:rect l="0" t="0" r="r" b="b"/>
              <a:pathLst>
                <a:path w="661" h="806">
                  <a:moveTo>
                    <a:pt x="484" y="298"/>
                  </a:moveTo>
                  <a:lnTo>
                    <a:pt x="483" y="325"/>
                  </a:lnTo>
                  <a:lnTo>
                    <a:pt x="481" y="355"/>
                  </a:lnTo>
                  <a:lnTo>
                    <a:pt x="477" y="387"/>
                  </a:lnTo>
                  <a:lnTo>
                    <a:pt x="471" y="420"/>
                  </a:lnTo>
                  <a:lnTo>
                    <a:pt x="464" y="455"/>
                  </a:lnTo>
                  <a:lnTo>
                    <a:pt x="454" y="489"/>
                  </a:lnTo>
                  <a:lnTo>
                    <a:pt x="449" y="506"/>
                  </a:lnTo>
                  <a:lnTo>
                    <a:pt x="443" y="523"/>
                  </a:lnTo>
                  <a:lnTo>
                    <a:pt x="437" y="539"/>
                  </a:lnTo>
                  <a:lnTo>
                    <a:pt x="431" y="555"/>
                  </a:lnTo>
                  <a:lnTo>
                    <a:pt x="423" y="571"/>
                  </a:lnTo>
                  <a:lnTo>
                    <a:pt x="416" y="587"/>
                  </a:lnTo>
                  <a:lnTo>
                    <a:pt x="407" y="601"/>
                  </a:lnTo>
                  <a:lnTo>
                    <a:pt x="399" y="615"/>
                  </a:lnTo>
                  <a:lnTo>
                    <a:pt x="388" y="629"/>
                  </a:lnTo>
                  <a:lnTo>
                    <a:pt x="378" y="642"/>
                  </a:lnTo>
                  <a:lnTo>
                    <a:pt x="368" y="653"/>
                  </a:lnTo>
                  <a:lnTo>
                    <a:pt x="357" y="664"/>
                  </a:lnTo>
                  <a:lnTo>
                    <a:pt x="346" y="674"/>
                  </a:lnTo>
                  <a:lnTo>
                    <a:pt x="334" y="683"/>
                  </a:lnTo>
                  <a:lnTo>
                    <a:pt x="321" y="691"/>
                  </a:lnTo>
                  <a:lnTo>
                    <a:pt x="308" y="697"/>
                  </a:lnTo>
                  <a:lnTo>
                    <a:pt x="294" y="702"/>
                  </a:lnTo>
                  <a:lnTo>
                    <a:pt x="280" y="706"/>
                  </a:lnTo>
                  <a:lnTo>
                    <a:pt x="265" y="708"/>
                  </a:lnTo>
                  <a:lnTo>
                    <a:pt x="250" y="709"/>
                  </a:lnTo>
                  <a:lnTo>
                    <a:pt x="239" y="709"/>
                  </a:lnTo>
                  <a:lnTo>
                    <a:pt x="230" y="708"/>
                  </a:lnTo>
                  <a:lnTo>
                    <a:pt x="221" y="706"/>
                  </a:lnTo>
                  <a:lnTo>
                    <a:pt x="212" y="704"/>
                  </a:lnTo>
                  <a:lnTo>
                    <a:pt x="204" y="702"/>
                  </a:lnTo>
                  <a:lnTo>
                    <a:pt x="197" y="699"/>
                  </a:lnTo>
                  <a:lnTo>
                    <a:pt x="190" y="695"/>
                  </a:lnTo>
                  <a:lnTo>
                    <a:pt x="183" y="691"/>
                  </a:lnTo>
                  <a:lnTo>
                    <a:pt x="177" y="687"/>
                  </a:lnTo>
                  <a:lnTo>
                    <a:pt x="172" y="682"/>
                  </a:lnTo>
                  <a:lnTo>
                    <a:pt x="167" y="677"/>
                  </a:lnTo>
                  <a:lnTo>
                    <a:pt x="162" y="672"/>
                  </a:lnTo>
                  <a:lnTo>
                    <a:pt x="154" y="660"/>
                  </a:lnTo>
                  <a:lnTo>
                    <a:pt x="147" y="647"/>
                  </a:lnTo>
                  <a:lnTo>
                    <a:pt x="142" y="633"/>
                  </a:lnTo>
                  <a:lnTo>
                    <a:pt x="138" y="618"/>
                  </a:lnTo>
                  <a:lnTo>
                    <a:pt x="134" y="603"/>
                  </a:lnTo>
                  <a:lnTo>
                    <a:pt x="132" y="587"/>
                  </a:lnTo>
                  <a:lnTo>
                    <a:pt x="130" y="555"/>
                  </a:lnTo>
                  <a:lnTo>
                    <a:pt x="129" y="524"/>
                  </a:lnTo>
                  <a:lnTo>
                    <a:pt x="130" y="498"/>
                  </a:lnTo>
                  <a:lnTo>
                    <a:pt x="132" y="469"/>
                  </a:lnTo>
                  <a:lnTo>
                    <a:pt x="135" y="435"/>
                  </a:lnTo>
                  <a:lnTo>
                    <a:pt x="140" y="401"/>
                  </a:lnTo>
                  <a:lnTo>
                    <a:pt x="147" y="366"/>
                  </a:lnTo>
                  <a:lnTo>
                    <a:pt x="155" y="329"/>
                  </a:lnTo>
                  <a:lnTo>
                    <a:pt x="165" y="293"/>
                  </a:lnTo>
                  <a:lnTo>
                    <a:pt x="177" y="258"/>
                  </a:lnTo>
                  <a:lnTo>
                    <a:pt x="184" y="241"/>
                  </a:lnTo>
                  <a:lnTo>
                    <a:pt x="191" y="224"/>
                  </a:lnTo>
                  <a:lnTo>
                    <a:pt x="199" y="208"/>
                  </a:lnTo>
                  <a:lnTo>
                    <a:pt x="207" y="193"/>
                  </a:lnTo>
                  <a:lnTo>
                    <a:pt x="215" y="178"/>
                  </a:lnTo>
                  <a:lnTo>
                    <a:pt x="225" y="164"/>
                  </a:lnTo>
                  <a:lnTo>
                    <a:pt x="234" y="150"/>
                  </a:lnTo>
                  <a:lnTo>
                    <a:pt x="244" y="138"/>
                  </a:lnTo>
                  <a:lnTo>
                    <a:pt x="255" y="127"/>
                  </a:lnTo>
                  <a:lnTo>
                    <a:pt x="266" y="117"/>
                  </a:lnTo>
                  <a:lnTo>
                    <a:pt x="278" y="109"/>
                  </a:lnTo>
                  <a:lnTo>
                    <a:pt x="291" y="102"/>
                  </a:lnTo>
                  <a:lnTo>
                    <a:pt x="304" y="96"/>
                  </a:lnTo>
                  <a:lnTo>
                    <a:pt x="317" y="92"/>
                  </a:lnTo>
                  <a:lnTo>
                    <a:pt x="331" y="89"/>
                  </a:lnTo>
                  <a:lnTo>
                    <a:pt x="346" y="88"/>
                  </a:lnTo>
                  <a:lnTo>
                    <a:pt x="356" y="89"/>
                  </a:lnTo>
                  <a:lnTo>
                    <a:pt x="365" y="90"/>
                  </a:lnTo>
                  <a:lnTo>
                    <a:pt x="374" y="91"/>
                  </a:lnTo>
                  <a:lnTo>
                    <a:pt x="382" y="94"/>
                  </a:lnTo>
                  <a:lnTo>
                    <a:pt x="390" y="97"/>
                  </a:lnTo>
                  <a:lnTo>
                    <a:pt x="397" y="100"/>
                  </a:lnTo>
                  <a:lnTo>
                    <a:pt x="406" y="104"/>
                  </a:lnTo>
                  <a:lnTo>
                    <a:pt x="413" y="108"/>
                  </a:lnTo>
                  <a:lnTo>
                    <a:pt x="419" y="114"/>
                  </a:lnTo>
                  <a:lnTo>
                    <a:pt x="425" y="119"/>
                  </a:lnTo>
                  <a:lnTo>
                    <a:pt x="431" y="125"/>
                  </a:lnTo>
                  <a:lnTo>
                    <a:pt x="436" y="131"/>
                  </a:lnTo>
                  <a:lnTo>
                    <a:pt x="446" y="145"/>
                  </a:lnTo>
                  <a:lnTo>
                    <a:pt x="455" y="161"/>
                  </a:lnTo>
                  <a:lnTo>
                    <a:pt x="462" y="177"/>
                  </a:lnTo>
                  <a:lnTo>
                    <a:pt x="468" y="193"/>
                  </a:lnTo>
                  <a:lnTo>
                    <a:pt x="473" y="211"/>
                  </a:lnTo>
                  <a:lnTo>
                    <a:pt x="477" y="228"/>
                  </a:lnTo>
                  <a:lnTo>
                    <a:pt x="480" y="246"/>
                  </a:lnTo>
                  <a:lnTo>
                    <a:pt x="482" y="264"/>
                  </a:lnTo>
                  <a:lnTo>
                    <a:pt x="483" y="281"/>
                  </a:lnTo>
                  <a:lnTo>
                    <a:pt x="484" y="298"/>
                  </a:lnTo>
                  <a:close/>
                  <a:moveTo>
                    <a:pt x="661" y="16"/>
                  </a:moveTo>
                  <a:lnTo>
                    <a:pt x="548" y="16"/>
                  </a:lnTo>
                  <a:lnTo>
                    <a:pt x="524" y="136"/>
                  </a:lnTo>
                  <a:lnTo>
                    <a:pt x="519" y="122"/>
                  </a:lnTo>
                  <a:lnTo>
                    <a:pt x="513" y="108"/>
                  </a:lnTo>
                  <a:lnTo>
                    <a:pt x="505" y="94"/>
                  </a:lnTo>
                  <a:lnTo>
                    <a:pt x="497" y="81"/>
                  </a:lnTo>
                  <a:lnTo>
                    <a:pt x="488" y="69"/>
                  </a:lnTo>
                  <a:lnTo>
                    <a:pt x="478" y="58"/>
                  </a:lnTo>
                  <a:lnTo>
                    <a:pt x="467" y="48"/>
                  </a:lnTo>
                  <a:lnTo>
                    <a:pt x="456" y="38"/>
                  </a:lnTo>
                  <a:lnTo>
                    <a:pt x="443" y="30"/>
                  </a:lnTo>
                  <a:lnTo>
                    <a:pt x="430" y="22"/>
                  </a:lnTo>
                  <a:lnTo>
                    <a:pt x="416" y="15"/>
                  </a:lnTo>
                  <a:lnTo>
                    <a:pt x="402" y="10"/>
                  </a:lnTo>
                  <a:lnTo>
                    <a:pt x="386" y="6"/>
                  </a:lnTo>
                  <a:lnTo>
                    <a:pt x="370" y="2"/>
                  </a:lnTo>
                  <a:lnTo>
                    <a:pt x="354" y="1"/>
                  </a:lnTo>
                  <a:lnTo>
                    <a:pt x="338" y="0"/>
                  </a:lnTo>
                  <a:lnTo>
                    <a:pt x="316" y="1"/>
                  </a:lnTo>
                  <a:lnTo>
                    <a:pt x="295" y="4"/>
                  </a:lnTo>
                  <a:lnTo>
                    <a:pt x="274" y="8"/>
                  </a:lnTo>
                  <a:lnTo>
                    <a:pt x="254" y="15"/>
                  </a:lnTo>
                  <a:lnTo>
                    <a:pt x="235" y="23"/>
                  </a:lnTo>
                  <a:lnTo>
                    <a:pt x="217" y="32"/>
                  </a:lnTo>
                  <a:lnTo>
                    <a:pt x="200" y="43"/>
                  </a:lnTo>
                  <a:lnTo>
                    <a:pt x="184" y="56"/>
                  </a:lnTo>
                  <a:lnTo>
                    <a:pt x="168" y="69"/>
                  </a:lnTo>
                  <a:lnTo>
                    <a:pt x="153" y="84"/>
                  </a:lnTo>
                  <a:lnTo>
                    <a:pt x="139" y="100"/>
                  </a:lnTo>
                  <a:lnTo>
                    <a:pt x="125" y="117"/>
                  </a:lnTo>
                  <a:lnTo>
                    <a:pt x="112" y="135"/>
                  </a:lnTo>
                  <a:lnTo>
                    <a:pt x="100" y="154"/>
                  </a:lnTo>
                  <a:lnTo>
                    <a:pt x="88" y="175"/>
                  </a:lnTo>
                  <a:lnTo>
                    <a:pt x="78" y="195"/>
                  </a:lnTo>
                  <a:lnTo>
                    <a:pt x="68" y="216"/>
                  </a:lnTo>
                  <a:lnTo>
                    <a:pt x="59" y="237"/>
                  </a:lnTo>
                  <a:lnTo>
                    <a:pt x="51" y="259"/>
                  </a:lnTo>
                  <a:lnTo>
                    <a:pt x="43" y="281"/>
                  </a:lnTo>
                  <a:lnTo>
                    <a:pt x="36" y="303"/>
                  </a:lnTo>
                  <a:lnTo>
                    <a:pt x="29" y="325"/>
                  </a:lnTo>
                  <a:lnTo>
                    <a:pt x="24" y="348"/>
                  </a:lnTo>
                  <a:lnTo>
                    <a:pt x="18" y="370"/>
                  </a:lnTo>
                  <a:lnTo>
                    <a:pt x="14" y="393"/>
                  </a:lnTo>
                  <a:lnTo>
                    <a:pt x="10" y="415"/>
                  </a:lnTo>
                  <a:lnTo>
                    <a:pt x="7" y="437"/>
                  </a:lnTo>
                  <a:lnTo>
                    <a:pt x="4" y="460"/>
                  </a:lnTo>
                  <a:lnTo>
                    <a:pt x="2" y="481"/>
                  </a:lnTo>
                  <a:lnTo>
                    <a:pt x="1" y="501"/>
                  </a:lnTo>
                  <a:lnTo>
                    <a:pt x="0" y="521"/>
                  </a:lnTo>
                  <a:lnTo>
                    <a:pt x="0" y="540"/>
                  </a:lnTo>
                  <a:lnTo>
                    <a:pt x="0" y="564"/>
                  </a:lnTo>
                  <a:lnTo>
                    <a:pt x="2" y="589"/>
                  </a:lnTo>
                  <a:lnTo>
                    <a:pt x="6" y="613"/>
                  </a:lnTo>
                  <a:lnTo>
                    <a:pt x="11" y="636"/>
                  </a:lnTo>
                  <a:lnTo>
                    <a:pt x="17" y="659"/>
                  </a:lnTo>
                  <a:lnTo>
                    <a:pt x="25" y="681"/>
                  </a:lnTo>
                  <a:lnTo>
                    <a:pt x="30" y="691"/>
                  </a:lnTo>
                  <a:lnTo>
                    <a:pt x="35" y="702"/>
                  </a:lnTo>
                  <a:lnTo>
                    <a:pt x="41" y="712"/>
                  </a:lnTo>
                  <a:lnTo>
                    <a:pt x="47" y="722"/>
                  </a:lnTo>
                  <a:lnTo>
                    <a:pt x="53" y="731"/>
                  </a:lnTo>
                  <a:lnTo>
                    <a:pt x="60" y="740"/>
                  </a:lnTo>
                  <a:lnTo>
                    <a:pt x="67" y="749"/>
                  </a:lnTo>
                  <a:lnTo>
                    <a:pt x="75" y="757"/>
                  </a:lnTo>
                  <a:lnTo>
                    <a:pt x="84" y="764"/>
                  </a:lnTo>
                  <a:lnTo>
                    <a:pt x="92" y="771"/>
                  </a:lnTo>
                  <a:lnTo>
                    <a:pt x="102" y="777"/>
                  </a:lnTo>
                  <a:lnTo>
                    <a:pt x="111" y="783"/>
                  </a:lnTo>
                  <a:lnTo>
                    <a:pt x="123" y="788"/>
                  </a:lnTo>
                  <a:lnTo>
                    <a:pt x="134" y="793"/>
                  </a:lnTo>
                  <a:lnTo>
                    <a:pt x="145" y="797"/>
                  </a:lnTo>
                  <a:lnTo>
                    <a:pt x="157" y="800"/>
                  </a:lnTo>
                  <a:lnTo>
                    <a:pt x="169" y="803"/>
                  </a:lnTo>
                  <a:lnTo>
                    <a:pt x="182" y="805"/>
                  </a:lnTo>
                  <a:lnTo>
                    <a:pt x="195" y="806"/>
                  </a:lnTo>
                  <a:lnTo>
                    <a:pt x="210" y="806"/>
                  </a:lnTo>
                  <a:lnTo>
                    <a:pt x="229" y="806"/>
                  </a:lnTo>
                  <a:lnTo>
                    <a:pt x="246" y="804"/>
                  </a:lnTo>
                  <a:lnTo>
                    <a:pt x="263" y="801"/>
                  </a:lnTo>
                  <a:lnTo>
                    <a:pt x="279" y="796"/>
                  </a:lnTo>
                  <a:lnTo>
                    <a:pt x="295" y="791"/>
                  </a:lnTo>
                  <a:lnTo>
                    <a:pt x="309" y="784"/>
                  </a:lnTo>
                  <a:lnTo>
                    <a:pt x="322" y="776"/>
                  </a:lnTo>
                  <a:lnTo>
                    <a:pt x="335" y="767"/>
                  </a:lnTo>
                  <a:lnTo>
                    <a:pt x="347" y="757"/>
                  </a:lnTo>
                  <a:lnTo>
                    <a:pt x="359" y="747"/>
                  </a:lnTo>
                  <a:lnTo>
                    <a:pt x="370" y="735"/>
                  </a:lnTo>
                  <a:lnTo>
                    <a:pt x="380" y="722"/>
                  </a:lnTo>
                  <a:lnTo>
                    <a:pt x="390" y="707"/>
                  </a:lnTo>
                  <a:lnTo>
                    <a:pt x="401" y="692"/>
                  </a:lnTo>
                  <a:lnTo>
                    <a:pt x="410" y="677"/>
                  </a:lnTo>
                  <a:lnTo>
                    <a:pt x="419" y="661"/>
                  </a:lnTo>
                  <a:lnTo>
                    <a:pt x="428" y="661"/>
                  </a:lnTo>
                  <a:lnTo>
                    <a:pt x="403" y="790"/>
                  </a:lnTo>
                  <a:lnTo>
                    <a:pt x="516" y="790"/>
                  </a:lnTo>
                  <a:lnTo>
                    <a:pt x="661" y="1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  <a:cs typeface="+mn-cs"/>
              </a:endParaRPr>
            </a:p>
          </p:txBody>
        </p:sp>
        <p:sp>
          <p:nvSpPr>
            <p:cNvPr id="29" name="Freeform 26"/>
            <p:cNvSpPr>
              <a:spLocks/>
            </p:cNvSpPr>
            <p:nvPr/>
          </p:nvSpPr>
          <p:spPr bwMode="gray">
            <a:xfrm>
              <a:off x="2289175" y="3751263"/>
              <a:ext cx="142875" cy="169862"/>
            </a:xfrm>
            <a:custGeom>
              <a:avLst/>
              <a:gdLst/>
              <a:ahLst/>
              <a:cxnLst>
                <a:cxn ang="0">
                  <a:pos x="547" y="790"/>
                </a:cxn>
                <a:cxn ang="0">
                  <a:pos x="523" y="330"/>
                </a:cxn>
                <a:cxn ang="0">
                  <a:pos x="534" y="263"/>
                </a:cxn>
                <a:cxn ang="0">
                  <a:pos x="538" y="232"/>
                </a:cxn>
                <a:cxn ang="0">
                  <a:pos x="539" y="202"/>
                </a:cxn>
                <a:cxn ang="0">
                  <a:pos x="538" y="182"/>
                </a:cxn>
                <a:cxn ang="0">
                  <a:pos x="533" y="163"/>
                </a:cxn>
                <a:cxn ang="0">
                  <a:pos x="526" y="146"/>
                </a:cxn>
                <a:cxn ang="0">
                  <a:pos x="516" y="131"/>
                </a:cxn>
                <a:cxn ang="0">
                  <a:pos x="503" y="120"/>
                </a:cxn>
                <a:cxn ang="0">
                  <a:pos x="488" y="111"/>
                </a:cxn>
                <a:cxn ang="0">
                  <a:pos x="471" y="106"/>
                </a:cxn>
                <a:cxn ang="0">
                  <a:pos x="451" y="104"/>
                </a:cxn>
                <a:cxn ang="0">
                  <a:pos x="418" y="108"/>
                </a:cxn>
                <a:cxn ang="0">
                  <a:pos x="388" y="117"/>
                </a:cxn>
                <a:cxn ang="0">
                  <a:pos x="360" y="132"/>
                </a:cxn>
                <a:cxn ang="0">
                  <a:pos x="334" y="152"/>
                </a:cxn>
                <a:cxn ang="0">
                  <a:pos x="310" y="176"/>
                </a:cxn>
                <a:cxn ang="0">
                  <a:pos x="288" y="204"/>
                </a:cxn>
                <a:cxn ang="0">
                  <a:pos x="266" y="234"/>
                </a:cxn>
                <a:cxn ang="0">
                  <a:pos x="248" y="266"/>
                </a:cxn>
                <a:cxn ang="0">
                  <a:pos x="216" y="335"/>
                </a:cxn>
                <a:cxn ang="0">
                  <a:pos x="191" y="404"/>
                </a:cxn>
                <a:cxn ang="0">
                  <a:pos x="172" y="469"/>
                </a:cxn>
                <a:cxn ang="0">
                  <a:pos x="160" y="524"/>
                </a:cxn>
                <a:cxn ang="0">
                  <a:pos x="0" y="790"/>
                </a:cxn>
                <a:cxn ang="0">
                  <a:pos x="257" y="16"/>
                </a:cxn>
                <a:cxn ang="0">
                  <a:pos x="233" y="178"/>
                </a:cxn>
                <a:cxn ang="0">
                  <a:pos x="260" y="139"/>
                </a:cxn>
                <a:cxn ang="0">
                  <a:pos x="288" y="105"/>
                </a:cxn>
                <a:cxn ang="0">
                  <a:pos x="316" y="75"/>
                </a:cxn>
                <a:cxn ang="0">
                  <a:pos x="346" y="49"/>
                </a:cxn>
                <a:cxn ang="0">
                  <a:pos x="379" y="28"/>
                </a:cxn>
                <a:cxn ang="0">
                  <a:pos x="417" y="13"/>
                </a:cxn>
                <a:cxn ang="0">
                  <a:pos x="459" y="3"/>
                </a:cxn>
                <a:cxn ang="0">
                  <a:pos x="507" y="0"/>
                </a:cxn>
                <a:cxn ang="0">
                  <a:pos x="541" y="3"/>
                </a:cxn>
                <a:cxn ang="0">
                  <a:pos x="572" y="14"/>
                </a:cxn>
                <a:cxn ang="0">
                  <a:pos x="599" y="30"/>
                </a:cxn>
                <a:cxn ang="0">
                  <a:pos x="620" y="51"/>
                </a:cxn>
                <a:cxn ang="0">
                  <a:pos x="638" y="76"/>
                </a:cxn>
                <a:cxn ang="0">
                  <a:pos x="650" y="105"/>
                </a:cxn>
                <a:cxn ang="0">
                  <a:pos x="658" y="136"/>
                </a:cxn>
                <a:cxn ang="0">
                  <a:pos x="661" y="170"/>
                </a:cxn>
                <a:cxn ang="0">
                  <a:pos x="659" y="200"/>
                </a:cxn>
                <a:cxn ang="0">
                  <a:pos x="656" y="230"/>
                </a:cxn>
                <a:cxn ang="0">
                  <a:pos x="645" y="290"/>
                </a:cxn>
              </a:cxnLst>
              <a:rect l="0" t="0" r="r" b="b"/>
              <a:pathLst>
                <a:path w="661" h="790">
                  <a:moveTo>
                    <a:pt x="645" y="290"/>
                  </a:moveTo>
                  <a:lnTo>
                    <a:pt x="547" y="790"/>
                  </a:lnTo>
                  <a:lnTo>
                    <a:pt x="435" y="790"/>
                  </a:lnTo>
                  <a:lnTo>
                    <a:pt x="523" y="330"/>
                  </a:lnTo>
                  <a:lnTo>
                    <a:pt x="529" y="296"/>
                  </a:lnTo>
                  <a:lnTo>
                    <a:pt x="534" y="263"/>
                  </a:lnTo>
                  <a:lnTo>
                    <a:pt x="536" y="247"/>
                  </a:lnTo>
                  <a:lnTo>
                    <a:pt x="538" y="232"/>
                  </a:lnTo>
                  <a:lnTo>
                    <a:pt x="539" y="217"/>
                  </a:lnTo>
                  <a:lnTo>
                    <a:pt x="539" y="202"/>
                  </a:lnTo>
                  <a:lnTo>
                    <a:pt x="539" y="191"/>
                  </a:lnTo>
                  <a:lnTo>
                    <a:pt x="538" y="182"/>
                  </a:lnTo>
                  <a:lnTo>
                    <a:pt x="536" y="172"/>
                  </a:lnTo>
                  <a:lnTo>
                    <a:pt x="533" y="163"/>
                  </a:lnTo>
                  <a:lnTo>
                    <a:pt x="530" y="154"/>
                  </a:lnTo>
                  <a:lnTo>
                    <a:pt x="526" y="146"/>
                  </a:lnTo>
                  <a:lnTo>
                    <a:pt x="521" y="138"/>
                  </a:lnTo>
                  <a:lnTo>
                    <a:pt x="516" y="131"/>
                  </a:lnTo>
                  <a:lnTo>
                    <a:pt x="510" y="125"/>
                  </a:lnTo>
                  <a:lnTo>
                    <a:pt x="503" y="120"/>
                  </a:lnTo>
                  <a:lnTo>
                    <a:pt x="496" y="115"/>
                  </a:lnTo>
                  <a:lnTo>
                    <a:pt x="488" y="111"/>
                  </a:lnTo>
                  <a:lnTo>
                    <a:pt x="480" y="108"/>
                  </a:lnTo>
                  <a:lnTo>
                    <a:pt x="471" y="106"/>
                  </a:lnTo>
                  <a:lnTo>
                    <a:pt x="461" y="105"/>
                  </a:lnTo>
                  <a:lnTo>
                    <a:pt x="451" y="104"/>
                  </a:lnTo>
                  <a:lnTo>
                    <a:pt x="434" y="105"/>
                  </a:lnTo>
                  <a:lnTo>
                    <a:pt x="418" y="108"/>
                  </a:lnTo>
                  <a:lnTo>
                    <a:pt x="403" y="112"/>
                  </a:lnTo>
                  <a:lnTo>
                    <a:pt x="388" y="117"/>
                  </a:lnTo>
                  <a:lnTo>
                    <a:pt x="374" y="124"/>
                  </a:lnTo>
                  <a:lnTo>
                    <a:pt x="360" y="132"/>
                  </a:lnTo>
                  <a:lnTo>
                    <a:pt x="347" y="141"/>
                  </a:lnTo>
                  <a:lnTo>
                    <a:pt x="334" y="152"/>
                  </a:lnTo>
                  <a:lnTo>
                    <a:pt x="322" y="164"/>
                  </a:lnTo>
                  <a:lnTo>
                    <a:pt x="310" y="176"/>
                  </a:lnTo>
                  <a:lnTo>
                    <a:pt x="299" y="190"/>
                  </a:lnTo>
                  <a:lnTo>
                    <a:pt x="288" y="204"/>
                  </a:lnTo>
                  <a:lnTo>
                    <a:pt x="277" y="218"/>
                  </a:lnTo>
                  <a:lnTo>
                    <a:pt x="266" y="234"/>
                  </a:lnTo>
                  <a:lnTo>
                    <a:pt x="257" y="250"/>
                  </a:lnTo>
                  <a:lnTo>
                    <a:pt x="248" y="266"/>
                  </a:lnTo>
                  <a:lnTo>
                    <a:pt x="231" y="300"/>
                  </a:lnTo>
                  <a:lnTo>
                    <a:pt x="216" y="335"/>
                  </a:lnTo>
                  <a:lnTo>
                    <a:pt x="202" y="369"/>
                  </a:lnTo>
                  <a:lnTo>
                    <a:pt x="191" y="404"/>
                  </a:lnTo>
                  <a:lnTo>
                    <a:pt x="181" y="437"/>
                  </a:lnTo>
                  <a:lnTo>
                    <a:pt x="172" y="469"/>
                  </a:lnTo>
                  <a:lnTo>
                    <a:pt x="166" y="498"/>
                  </a:lnTo>
                  <a:lnTo>
                    <a:pt x="160" y="524"/>
                  </a:lnTo>
                  <a:lnTo>
                    <a:pt x="112" y="790"/>
                  </a:lnTo>
                  <a:lnTo>
                    <a:pt x="0" y="790"/>
                  </a:lnTo>
                  <a:lnTo>
                    <a:pt x="144" y="16"/>
                  </a:lnTo>
                  <a:lnTo>
                    <a:pt x="257" y="16"/>
                  </a:lnTo>
                  <a:lnTo>
                    <a:pt x="233" y="170"/>
                  </a:lnTo>
                  <a:lnTo>
                    <a:pt x="233" y="178"/>
                  </a:lnTo>
                  <a:lnTo>
                    <a:pt x="246" y="157"/>
                  </a:lnTo>
                  <a:lnTo>
                    <a:pt x="260" y="139"/>
                  </a:lnTo>
                  <a:lnTo>
                    <a:pt x="274" y="122"/>
                  </a:lnTo>
                  <a:lnTo>
                    <a:pt x="288" y="105"/>
                  </a:lnTo>
                  <a:lnTo>
                    <a:pt x="302" y="89"/>
                  </a:lnTo>
                  <a:lnTo>
                    <a:pt x="316" y="75"/>
                  </a:lnTo>
                  <a:lnTo>
                    <a:pt x="331" y="61"/>
                  </a:lnTo>
                  <a:lnTo>
                    <a:pt x="346" y="49"/>
                  </a:lnTo>
                  <a:lnTo>
                    <a:pt x="362" y="38"/>
                  </a:lnTo>
                  <a:lnTo>
                    <a:pt x="379" y="28"/>
                  </a:lnTo>
                  <a:lnTo>
                    <a:pt x="398" y="20"/>
                  </a:lnTo>
                  <a:lnTo>
                    <a:pt x="417" y="13"/>
                  </a:lnTo>
                  <a:lnTo>
                    <a:pt x="437" y="7"/>
                  </a:lnTo>
                  <a:lnTo>
                    <a:pt x="459" y="3"/>
                  </a:lnTo>
                  <a:lnTo>
                    <a:pt x="482" y="1"/>
                  </a:lnTo>
                  <a:lnTo>
                    <a:pt x="507" y="0"/>
                  </a:lnTo>
                  <a:lnTo>
                    <a:pt x="524" y="1"/>
                  </a:lnTo>
                  <a:lnTo>
                    <a:pt x="541" y="3"/>
                  </a:lnTo>
                  <a:lnTo>
                    <a:pt x="558" y="8"/>
                  </a:lnTo>
                  <a:lnTo>
                    <a:pt x="572" y="14"/>
                  </a:lnTo>
                  <a:lnTo>
                    <a:pt x="586" y="21"/>
                  </a:lnTo>
                  <a:lnTo>
                    <a:pt x="599" y="30"/>
                  </a:lnTo>
                  <a:lnTo>
                    <a:pt x="610" y="40"/>
                  </a:lnTo>
                  <a:lnTo>
                    <a:pt x="620" y="51"/>
                  </a:lnTo>
                  <a:lnTo>
                    <a:pt x="630" y="63"/>
                  </a:lnTo>
                  <a:lnTo>
                    <a:pt x="638" y="76"/>
                  </a:lnTo>
                  <a:lnTo>
                    <a:pt x="645" y="90"/>
                  </a:lnTo>
                  <a:lnTo>
                    <a:pt x="650" y="105"/>
                  </a:lnTo>
                  <a:lnTo>
                    <a:pt x="655" y="120"/>
                  </a:lnTo>
                  <a:lnTo>
                    <a:pt x="658" y="136"/>
                  </a:lnTo>
                  <a:lnTo>
                    <a:pt x="660" y="152"/>
                  </a:lnTo>
                  <a:lnTo>
                    <a:pt x="661" y="170"/>
                  </a:lnTo>
                  <a:lnTo>
                    <a:pt x="660" y="185"/>
                  </a:lnTo>
                  <a:lnTo>
                    <a:pt x="659" y="200"/>
                  </a:lnTo>
                  <a:lnTo>
                    <a:pt x="658" y="215"/>
                  </a:lnTo>
                  <a:lnTo>
                    <a:pt x="656" y="230"/>
                  </a:lnTo>
                  <a:lnTo>
                    <a:pt x="650" y="260"/>
                  </a:lnTo>
                  <a:lnTo>
                    <a:pt x="645" y="29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  <a:cs typeface="+mn-cs"/>
              </a:endParaRPr>
            </a:p>
          </p:txBody>
        </p:sp>
        <p:sp>
          <p:nvSpPr>
            <p:cNvPr id="30" name="Freeform 27"/>
            <p:cNvSpPr>
              <a:spLocks/>
            </p:cNvSpPr>
            <p:nvPr/>
          </p:nvSpPr>
          <p:spPr bwMode="gray">
            <a:xfrm>
              <a:off x="2446338" y="3751263"/>
              <a:ext cx="133350" cy="173037"/>
            </a:xfrm>
            <a:custGeom>
              <a:avLst/>
              <a:gdLst/>
              <a:ahLst/>
              <a:cxnLst>
                <a:cxn ang="0">
                  <a:pos x="484" y="238"/>
                </a:cxn>
                <a:cxn ang="0">
                  <a:pos x="484" y="202"/>
                </a:cxn>
                <a:cxn ang="0">
                  <a:pos x="480" y="168"/>
                </a:cxn>
                <a:cxn ang="0">
                  <a:pos x="468" y="137"/>
                </a:cxn>
                <a:cxn ang="0">
                  <a:pos x="447" y="113"/>
                </a:cxn>
                <a:cxn ang="0">
                  <a:pos x="420" y="97"/>
                </a:cxn>
                <a:cxn ang="0">
                  <a:pos x="385" y="89"/>
                </a:cxn>
                <a:cxn ang="0">
                  <a:pos x="339" y="91"/>
                </a:cxn>
                <a:cxn ang="0">
                  <a:pos x="296" y="103"/>
                </a:cxn>
                <a:cxn ang="0">
                  <a:pos x="258" y="124"/>
                </a:cxn>
                <a:cxn ang="0">
                  <a:pos x="226" y="153"/>
                </a:cxn>
                <a:cxn ang="0">
                  <a:pos x="199" y="190"/>
                </a:cxn>
                <a:cxn ang="0">
                  <a:pos x="177" y="230"/>
                </a:cxn>
                <a:cxn ang="0">
                  <a:pos x="159" y="273"/>
                </a:cxn>
                <a:cxn ang="0">
                  <a:pos x="137" y="364"/>
                </a:cxn>
                <a:cxn ang="0">
                  <a:pos x="130" y="452"/>
                </a:cxn>
                <a:cxn ang="0">
                  <a:pos x="132" y="497"/>
                </a:cxn>
                <a:cxn ang="0">
                  <a:pos x="138" y="538"/>
                </a:cxn>
                <a:cxn ang="0">
                  <a:pos x="149" y="575"/>
                </a:cxn>
                <a:cxn ang="0">
                  <a:pos x="164" y="607"/>
                </a:cxn>
                <a:cxn ang="0">
                  <a:pos x="184" y="635"/>
                </a:cxn>
                <a:cxn ang="0">
                  <a:pos x="209" y="659"/>
                </a:cxn>
                <a:cxn ang="0">
                  <a:pos x="238" y="678"/>
                </a:cxn>
                <a:cxn ang="0">
                  <a:pos x="272" y="693"/>
                </a:cxn>
                <a:cxn ang="0">
                  <a:pos x="311" y="703"/>
                </a:cxn>
                <a:cxn ang="0">
                  <a:pos x="355" y="708"/>
                </a:cxn>
                <a:cxn ang="0">
                  <a:pos x="418" y="709"/>
                </a:cxn>
                <a:cxn ang="0">
                  <a:pos x="478" y="702"/>
                </a:cxn>
                <a:cxn ang="0">
                  <a:pos x="492" y="782"/>
                </a:cxn>
                <a:cxn ang="0">
                  <a:pos x="435" y="797"/>
                </a:cxn>
                <a:cxn ang="0">
                  <a:pos x="377" y="805"/>
                </a:cxn>
                <a:cxn ang="0">
                  <a:pos x="318" y="806"/>
                </a:cxn>
                <a:cxn ang="0">
                  <a:pos x="262" y="802"/>
                </a:cxn>
                <a:cxn ang="0">
                  <a:pos x="210" y="791"/>
                </a:cxn>
                <a:cxn ang="0">
                  <a:pos x="164" y="776"/>
                </a:cxn>
                <a:cxn ang="0">
                  <a:pos x="123" y="754"/>
                </a:cxn>
                <a:cxn ang="0">
                  <a:pos x="87" y="727"/>
                </a:cxn>
                <a:cxn ang="0">
                  <a:pos x="58" y="693"/>
                </a:cxn>
                <a:cxn ang="0">
                  <a:pos x="34" y="655"/>
                </a:cxn>
                <a:cxn ang="0">
                  <a:pos x="17" y="610"/>
                </a:cxn>
                <a:cxn ang="0">
                  <a:pos x="5" y="560"/>
                </a:cxn>
                <a:cxn ang="0">
                  <a:pos x="0" y="504"/>
                </a:cxn>
                <a:cxn ang="0">
                  <a:pos x="1" y="440"/>
                </a:cxn>
                <a:cxn ang="0">
                  <a:pos x="9" y="374"/>
                </a:cxn>
                <a:cxn ang="0">
                  <a:pos x="24" y="309"/>
                </a:cxn>
                <a:cxn ang="0">
                  <a:pos x="45" y="248"/>
                </a:cxn>
                <a:cxn ang="0">
                  <a:pos x="74" y="190"/>
                </a:cxn>
                <a:cxn ang="0">
                  <a:pos x="110" y="137"/>
                </a:cxn>
                <a:cxn ang="0">
                  <a:pos x="152" y="91"/>
                </a:cxn>
                <a:cxn ang="0">
                  <a:pos x="200" y="53"/>
                </a:cxn>
                <a:cxn ang="0">
                  <a:pos x="256" y="24"/>
                </a:cxn>
                <a:cxn ang="0">
                  <a:pos x="318" y="6"/>
                </a:cxn>
                <a:cxn ang="0">
                  <a:pos x="388" y="0"/>
                </a:cxn>
                <a:cxn ang="0">
                  <a:pos x="454" y="6"/>
                </a:cxn>
                <a:cxn ang="0">
                  <a:pos x="514" y="25"/>
                </a:cxn>
                <a:cxn ang="0">
                  <a:pos x="557" y="51"/>
                </a:cxn>
                <a:cxn ang="0">
                  <a:pos x="579" y="72"/>
                </a:cxn>
                <a:cxn ang="0">
                  <a:pos x="596" y="96"/>
                </a:cxn>
                <a:cxn ang="0">
                  <a:pos x="609" y="124"/>
                </a:cxn>
                <a:cxn ang="0">
                  <a:pos x="618" y="156"/>
                </a:cxn>
                <a:cxn ang="0">
                  <a:pos x="621" y="194"/>
                </a:cxn>
                <a:cxn ang="0">
                  <a:pos x="619" y="229"/>
                </a:cxn>
                <a:cxn ang="0">
                  <a:pos x="613" y="250"/>
                </a:cxn>
              </a:cxnLst>
              <a:rect l="0" t="0" r="r" b="b"/>
              <a:pathLst>
                <a:path w="621" h="806">
                  <a:moveTo>
                    <a:pt x="613" y="250"/>
                  </a:moveTo>
                  <a:lnTo>
                    <a:pt x="484" y="250"/>
                  </a:lnTo>
                  <a:lnTo>
                    <a:pt x="484" y="238"/>
                  </a:lnTo>
                  <a:lnTo>
                    <a:pt x="484" y="226"/>
                  </a:lnTo>
                  <a:lnTo>
                    <a:pt x="484" y="214"/>
                  </a:lnTo>
                  <a:lnTo>
                    <a:pt x="484" y="202"/>
                  </a:lnTo>
                  <a:lnTo>
                    <a:pt x="484" y="190"/>
                  </a:lnTo>
                  <a:lnTo>
                    <a:pt x="482" y="178"/>
                  </a:lnTo>
                  <a:lnTo>
                    <a:pt x="480" y="168"/>
                  </a:lnTo>
                  <a:lnTo>
                    <a:pt x="477" y="156"/>
                  </a:lnTo>
                  <a:lnTo>
                    <a:pt x="473" y="146"/>
                  </a:lnTo>
                  <a:lnTo>
                    <a:pt x="468" y="137"/>
                  </a:lnTo>
                  <a:lnTo>
                    <a:pt x="462" y="128"/>
                  </a:lnTo>
                  <a:lnTo>
                    <a:pt x="455" y="120"/>
                  </a:lnTo>
                  <a:lnTo>
                    <a:pt x="447" y="113"/>
                  </a:lnTo>
                  <a:lnTo>
                    <a:pt x="439" y="107"/>
                  </a:lnTo>
                  <a:lnTo>
                    <a:pt x="430" y="101"/>
                  </a:lnTo>
                  <a:lnTo>
                    <a:pt x="420" y="97"/>
                  </a:lnTo>
                  <a:lnTo>
                    <a:pt x="409" y="93"/>
                  </a:lnTo>
                  <a:lnTo>
                    <a:pt x="397" y="90"/>
                  </a:lnTo>
                  <a:lnTo>
                    <a:pt x="385" y="89"/>
                  </a:lnTo>
                  <a:lnTo>
                    <a:pt x="372" y="88"/>
                  </a:lnTo>
                  <a:lnTo>
                    <a:pt x="354" y="89"/>
                  </a:lnTo>
                  <a:lnTo>
                    <a:pt x="339" y="91"/>
                  </a:lnTo>
                  <a:lnTo>
                    <a:pt x="324" y="94"/>
                  </a:lnTo>
                  <a:lnTo>
                    <a:pt x="309" y="98"/>
                  </a:lnTo>
                  <a:lnTo>
                    <a:pt x="296" y="103"/>
                  </a:lnTo>
                  <a:lnTo>
                    <a:pt x="283" y="109"/>
                  </a:lnTo>
                  <a:lnTo>
                    <a:pt x="270" y="116"/>
                  </a:lnTo>
                  <a:lnTo>
                    <a:pt x="258" y="124"/>
                  </a:lnTo>
                  <a:lnTo>
                    <a:pt x="247" y="133"/>
                  </a:lnTo>
                  <a:lnTo>
                    <a:pt x="236" y="143"/>
                  </a:lnTo>
                  <a:lnTo>
                    <a:pt x="226" y="153"/>
                  </a:lnTo>
                  <a:lnTo>
                    <a:pt x="217" y="166"/>
                  </a:lnTo>
                  <a:lnTo>
                    <a:pt x="207" y="177"/>
                  </a:lnTo>
                  <a:lnTo>
                    <a:pt x="199" y="190"/>
                  </a:lnTo>
                  <a:lnTo>
                    <a:pt x="191" y="203"/>
                  </a:lnTo>
                  <a:lnTo>
                    <a:pt x="184" y="216"/>
                  </a:lnTo>
                  <a:lnTo>
                    <a:pt x="177" y="230"/>
                  </a:lnTo>
                  <a:lnTo>
                    <a:pt x="170" y="244"/>
                  </a:lnTo>
                  <a:lnTo>
                    <a:pt x="164" y="258"/>
                  </a:lnTo>
                  <a:lnTo>
                    <a:pt x="159" y="273"/>
                  </a:lnTo>
                  <a:lnTo>
                    <a:pt x="150" y="303"/>
                  </a:lnTo>
                  <a:lnTo>
                    <a:pt x="142" y="333"/>
                  </a:lnTo>
                  <a:lnTo>
                    <a:pt x="137" y="364"/>
                  </a:lnTo>
                  <a:lnTo>
                    <a:pt x="133" y="394"/>
                  </a:lnTo>
                  <a:lnTo>
                    <a:pt x="130" y="423"/>
                  </a:lnTo>
                  <a:lnTo>
                    <a:pt x="130" y="452"/>
                  </a:lnTo>
                  <a:lnTo>
                    <a:pt x="130" y="468"/>
                  </a:lnTo>
                  <a:lnTo>
                    <a:pt x="130" y="483"/>
                  </a:lnTo>
                  <a:lnTo>
                    <a:pt x="132" y="497"/>
                  </a:lnTo>
                  <a:lnTo>
                    <a:pt x="133" y="511"/>
                  </a:lnTo>
                  <a:lnTo>
                    <a:pt x="135" y="525"/>
                  </a:lnTo>
                  <a:lnTo>
                    <a:pt x="138" y="538"/>
                  </a:lnTo>
                  <a:lnTo>
                    <a:pt x="141" y="551"/>
                  </a:lnTo>
                  <a:lnTo>
                    <a:pt x="145" y="563"/>
                  </a:lnTo>
                  <a:lnTo>
                    <a:pt x="149" y="575"/>
                  </a:lnTo>
                  <a:lnTo>
                    <a:pt x="153" y="586"/>
                  </a:lnTo>
                  <a:lnTo>
                    <a:pt x="159" y="597"/>
                  </a:lnTo>
                  <a:lnTo>
                    <a:pt x="164" y="607"/>
                  </a:lnTo>
                  <a:lnTo>
                    <a:pt x="170" y="617"/>
                  </a:lnTo>
                  <a:lnTo>
                    <a:pt x="177" y="627"/>
                  </a:lnTo>
                  <a:lnTo>
                    <a:pt x="184" y="635"/>
                  </a:lnTo>
                  <a:lnTo>
                    <a:pt x="192" y="644"/>
                  </a:lnTo>
                  <a:lnTo>
                    <a:pt x="200" y="652"/>
                  </a:lnTo>
                  <a:lnTo>
                    <a:pt x="209" y="659"/>
                  </a:lnTo>
                  <a:lnTo>
                    <a:pt x="218" y="666"/>
                  </a:lnTo>
                  <a:lnTo>
                    <a:pt x="228" y="672"/>
                  </a:lnTo>
                  <a:lnTo>
                    <a:pt x="238" y="678"/>
                  </a:lnTo>
                  <a:lnTo>
                    <a:pt x="249" y="683"/>
                  </a:lnTo>
                  <a:lnTo>
                    <a:pt x="260" y="688"/>
                  </a:lnTo>
                  <a:lnTo>
                    <a:pt x="272" y="693"/>
                  </a:lnTo>
                  <a:lnTo>
                    <a:pt x="284" y="697"/>
                  </a:lnTo>
                  <a:lnTo>
                    <a:pt x="297" y="700"/>
                  </a:lnTo>
                  <a:lnTo>
                    <a:pt x="311" y="703"/>
                  </a:lnTo>
                  <a:lnTo>
                    <a:pt x="325" y="705"/>
                  </a:lnTo>
                  <a:lnTo>
                    <a:pt x="339" y="707"/>
                  </a:lnTo>
                  <a:lnTo>
                    <a:pt x="355" y="708"/>
                  </a:lnTo>
                  <a:lnTo>
                    <a:pt x="370" y="709"/>
                  </a:lnTo>
                  <a:lnTo>
                    <a:pt x="388" y="709"/>
                  </a:lnTo>
                  <a:lnTo>
                    <a:pt x="418" y="709"/>
                  </a:lnTo>
                  <a:lnTo>
                    <a:pt x="448" y="707"/>
                  </a:lnTo>
                  <a:lnTo>
                    <a:pt x="463" y="705"/>
                  </a:lnTo>
                  <a:lnTo>
                    <a:pt x="478" y="702"/>
                  </a:lnTo>
                  <a:lnTo>
                    <a:pt x="493" y="698"/>
                  </a:lnTo>
                  <a:lnTo>
                    <a:pt x="508" y="693"/>
                  </a:lnTo>
                  <a:lnTo>
                    <a:pt x="492" y="782"/>
                  </a:lnTo>
                  <a:lnTo>
                    <a:pt x="474" y="788"/>
                  </a:lnTo>
                  <a:lnTo>
                    <a:pt x="455" y="793"/>
                  </a:lnTo>
                  <a:lnTo>
                    <a:pt x="435" y="797"/>
                  </a:lnTo>
                  <a:lnTo>
                    <a:pt x="416" y="800"/>
                  </a:lnTo>
                  <a:lnTo>
                    <a:pt x="396" y="803"/>
                  </a:lnTo>
                  <a:lnTo>
                    <a:pt x="377" y="805"/>
                  </a:lnTo>
                  <a:lnTo>
                    <a:pt x="357" y="806"/>
                  </a:lnTo>
                  <a:lnTo>
                    <a:pt x="338" y="806"/>
                  </a:lnTo>
                  <a:lnTo>
                    <a:pt x="318" y="806"/>
                  </a:lnTo>
                  <a:lnTo>
                    <a:pt x="299" y="805"/>
                  </a:lnTo>
                  <a:lnTo>
                    <a:pt x="280" y="804"/>
                  </a:lnTo>
                  <a:lnTo>
                    <a:pt x="262" y="802"/>
                  </a:lnTo>
                  <a:lnTo>
                    <a:pt x="244" y="799"/>
                  </a:lnTo>
                  <a:lnTo>
                    <a:pt x="227" y="795"/>
                  </a:lnTo>
                  <a:lnTo>
                    <a:pt x="210" y="791"/>
                  </a:lnTo>
                  <a:lnTo>
                    <a:pt x="194" y="787"/>
                  </a:lnTo>
                  <a:lnTo>
                    <a:pt x="179" y="782"/>
                  </a:lnTo>
                  <a:lnTo>
                    <a:pt x="164" y="776"/>
                  </a:lnTo>
                  <a:lnTo>
                    <a:pt x="150" y="769"/>
                  </a:lnTo>
                  <a:lnTo>
                    <a:pt x="136" y="762"/>
                  </a:lnTo>
                  <a:lnTo>
                    <a:pt x="123" y="754"/>
                  </a:lnTo>
                  <a:lnTo>
                    <a:pt x="111" y="746"/>
                  </a:lnTo>
                  <a:lnTo>
                    <a:pt x="99" y="737"/>
                  </a:lnTo>
                  <a:lnTo>
                    <a:pt x="87" y="727"/>
                  </a:lnTo>
                  <a:lnTo>
                    <a:pt x="77" y="716"/>
                  </a:lnTo>
                  <a:lnTo>
                    <a:pt x="67" y="705"/>
                  </a:lnTo>
                  <a:lnTo>
                    <a:pt x="58" y="693"/>
                  </a:lnTo>
                  <a:lnTo>
                    <a:pt x="49" y="681"/>
                  </a:lnTo>
                  <a:lnTo>
                    <a:pt x="42" y="668"/>
                  </a:lnTo>
                  <a:lnTo>
                    <a:pt x="34" y="655"/>
                  </a:lnTo>
                  <a:lnTo>
                    <a:pt x="28" y="641"/>
                  </a:lnTo>
                  <a:lnTo>
                    <a:pt x="22" y="626"/>
                  </a:lnTo>
                  <a:lnTo>
                    <a:pt x="17" y="610"/>
                  </a:lnTo>
                  <a:lnTo>
                    <a:pt x="12" y="594"/>
                  </a:lnTo>
                  <a:lnTo>
                    <a:pt x="9" y="578"/>
                  </a:lnTo>
                  <a:lnTo>
                    <a:pt x="5" y="560"/>
                  </a:lnTo>
                  <a:lnTo>
                    <a:pt x="3" y="542"/>
                  </a:lnTo>
                  <a:lnTo>
                    <a:pt x="1" y="523"/>
                  </a:lnTo>
                  <a:lnTo>
                    <a:pt x="0" y="504"/>
                  </a:lnTo>
                  <a:lnTo>
                    <a:pt x="0" y="484"/>
                  </a:lnTo>
                  <a:lnTo>
                    <a:pt x="0" y="462"/>
                  </a:lnTo>
                  <a:lnTo>
                    <a:pt x="1" y="440"/>
                  </a:lnTo>
                  <a:lnTo>
                    <a:pt x="3" y="417"/>
                  </a:lnTo>
                  <a:lnTo>
                    <a:pt x="6" y="395"/>
                  </a:lnTo>
                  <a:lnTo>
                    <a:pt x="9" y="374"/>
                  </a:lnTo>
                  <a:lnTo>
                    <a:pt x="13" y="352"/>
                  </a:lnTo>
                  <a:lnTo>
                    <a:pt x="18" y="331"/>
                  </a:lnTo>
                  <a:lnTo>
                    <a:pt x="24" y="309"/>
                  </a:lnTo>
                  <a:lnTo>
                    <a:pt x="30" y="289"/>
                  </a:lnTo>
                  <a:lnTo>
                    <a:pt x="38" y="268"/>
                  </a:lnTo>
                  <a:lnTo>
                    <a:pt x="45" y="248"/>
                  </a:lnTo>
                  <a:lnTo>
                    <a:pt x="54" y="228"/>
                  </a:lnTo>
                  <a:lnTo>
                    <a:pt x="64" y="209"/>
                  </a:lnTo>
                  <a:lnTo>
                    <a:pt x="74" y="190"/>
                  </a:lnTo>
                  <a:lnTo>
                    <a:pt x="85" y="172"/>
                  </a:lnTo>
                  <a:lnTo>
                    <a:pt x="97" y="154"/>
                  </a:lnTo>
                  <a:lnTo>
                    <a:pt x="110" y="137"/>
                  </a:lnTo>
                  <a:lnTo>
                    <a:pt x="123" y="121"/>
                  </a:lnTo>
                  <a:lnTo>
                    <a:pt x="137" y="105"/>
                  </a:lnTo>
                  <a:lnTo>
                    <a:pt x="152" y="91"/>
                  </a:lnTo>
                  <a:lnTo>
                    <a:pt x="167" y="77"/>
                  </a:lnTo>
                  <a:lnTo>
                    <a:pt x="183" y="65"/>
                  </a:lnTo>
                  <a:lnTo>
                    <a:pt x="200" y="53"/>
                  </a:lnTo>
                  <a:lnTo>
                    <a:pt x="218" y="42"/>
                  </a:lnTo>
                  <a:lnTo>
                    <a:pt x="236" y="33"/>
                  </a:lnTo>
                  <a:lnTo>
                    <a:pt x="256" y="24"/>
                  </a:lnTo>
                  <a:lnTo>
                    <a:pt x="275" y="17"/>
                  </a:lnTo>
                  <a:lnTo>
                    <a:pt x="296" y="11"/>
                  </a:lnTo>
                  <a:lnTo>
                    <a:pt x="318" y="6"/>
                  </a:lnTo>
                  <a:lnTo>
                    <a:pt x="340" y="3"/>
                  </a:lnTo>
                  <a:lnTo>
                    <a:pt x="363" y="1"/>
                  </a:lnTo>
                  <a:lnTo>
                    <a:pt x="388" y="0"/>
                  </a:lnTo>
                  <a:lnTo>
                    <a:pt x="410" y="1"/>
                  </a:lnTo>
                  <a:lnTo>
                    <a:pt x="432" y="3"/>
                  </a:lnTo>
                  <a:lnTo>
                    <a:pt x="454" y="6"/>
                  </a:lnTo>
                  <a:lnTo>
                    <a:pt x="475" y="11"/>
                  </a:lnTo>
                  <a:lnTo>
                    <a:pt x="495" y="17"/>
                  </a:lnTo>
                  <a:lnTo>
                    <a:pt x="514" y="25"/>
                  </a:lnTo>
                  <a:lnTo>
                    <a:pt x="532" y="34"/>
                  </a:lnTo>
                  <a:lnTo>
                    <a:pt x="549" y="45"/>
                  </a:lnTo>
                  <a:lnTo>
                    <a:pt x="557" y="51"/>
                  </a:lnTo>
                  <a:lnTo>
                    <a:pt x="565" y="58"/>
                  </a:lnTo>
                  <a:lnTo>
                    <a:pt x="572" y="64"/>
                  </a:lnTo>
                  <a:lnTo>
                    <a:pt x="579" y="72"/>
                  </a:lnTo>
                  <a:lnTo>
                    <a:pt x="585" y="79"/>
                  </a:lnTo>
                  <a:lnTo>
                    <a:pt x="591" y="87"/>
                  </a:lnTo>
                  <a:lnTo>
                    <a:pt x="596" y="96"/>
                  </a:lnTo>
                  <a:lnTo>
                    <a:pt x="601" y="105"/>
                  </a:lnTo>
                  <a:lnTo>
                    <a:pt x="606" y="114"/>
                  </a:lnTo>
                  <a:lnTo>
                    <a:pt x="609" y="124"/>
                  </a:lnTo>
                  <a:lnTo>
                    <a:pt x="613" y="135"/>
                  </a:lnTo>
                  <a:lnTo>
                    <a:pt x="616" y="145"/>
                  </a:lnTo>
                  <a:lnTo>
                    <a:pt x="618" y="156"/>
                  </a:lnTo>
                  <a:lnTo>
                    <a:pt x="619" y="169"/>
                  </a:lnTo>
                  <a:lnTo>
                    <a:pt x="620" y="181"/>
                  </a:lnTo>
                  <a:lnTo>
                    <a:pt x="621" y="194"/>
                  </a:lnTo>
                  <a:lnTo>
                    <a:pt x="621" y="207"/>
                  </a:lnTo>
                  <a:lnTo>
                    <a:pt x="620" y="222"/>
                  </a:lnTo>
                  <a:lnTo>
                    <a:pt x="619" y="229"/>
                  </a:lnTo>
                  <a:lnTo>
                    <a:pt x="617" y="237"/>
                  </a:lnTo>
                  <a:lnTo>
                    <a:pt x="615" y="244"/>
                  </a:lnTo>
                  <a:lnTo>
                    <a:pt x="613" y="25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  <a:cs typeface="+mn-cs"/>
              </a:endParaRPr>
            </a:p>
          </p:txBody>
        </p:sp>
        <p:sp>
          <p:nvSpPr>
            <p:cNvPr id="31" name="Freeform 28"/>
            <p:cNvSpPr>
              <a:spLocks noEditPoints="1"/>
            </p:cNvSpPr>
            <p:nvPr/>
          </p:nvSpPr>
          <p:spPr bwMode="gray">
            <a:xfrm>
              <a:off x="2586038" y="3751263"/>
              <a:ext cx="130175" cy="173037"/>
            </a:xfrm>
            <a:custGeom>
              <a:avLst/>
              <a:gdLst/>
              <a:ahLst/>
              <a:cxnLst>
                <a:cxn ang="0">
                  <a:pos x="491" y="229"/>
                </a:cxn>
                <a:cxn ang="0">
                  <a:pos x="487" y="239"/>
                </a:cxn>
                <a:cxn ang="0">
                  <a:pos x="169" y="226"/>
                </a:cxn>
                <a:cxn ang="0">
                  <a:pos x="195" y="181"/>
                </a:cxn>
                <a:cxn ang="0">
                  <a:pos x="226" y="142"/>
                </a:cxn>
                <a:cxn ang="0">
                  <a:pos x="263" y="113"/>
                </a:cxn>
                <a:cxn ang="0">
                  <a:pos x="309" y="95"/>
                </a:cxn>
                <a:cxn ang="0">
                  <a:pos x="363" y="88"/>
                </a:cxn>
                <a:cxn ang="0">
                  <a:pos x="402" y="93"/>
                </a:cxn>
                <a:cxn ang="0">
                  <a:pos x="436" y="107"/>
                </a:cxn>
                <a:cxn ang="0">
                  <a:pos x="463" y="130"/>
                </a:cxn>
                <a:cxn ang="0">
                  <a:pos x="482" y="159"/>
                </a:cxn>
                <a:cxn ang="0">
                  <a:pos x="491" y="197"/>
                </a:cxn>
                <a:cxn ang="0">
                  <a:pos x="605" y="205"/>
                </a:cxn>
                <a:cxn ang="0">
                  <a:pos x="601" y="169"/>
                </a:cxn>
                <a:cxn ang="0">
                  <a:pos x="591" y="136"/>
                </a:cxn>
                <a:cxn ang="0">
                  <a:pos x="577" y="106"/>
                </a:cxn>
                <a:cxn ang="0">
                  <a:pos x="558" y="80"/>
                </a:cxn>
                <a:cxn ang="0">
                  <a:pos x="535" y="57"/>
                </a:cxn>
                <a:cxn ang="0">
                  <a:pos x="509" y="38"/>
                </a:cxn>
                <a:cxn ang="0">
                  <a:pos x="459" y="15"/>
                </a:cxn>
                <a:cxn ang="0">
                  <a:pos x="389" y="1"/>
                </a:cxn>
                <a:cxn ang="0">
                  <a:pos x="317" y="3"/>
                </a:cxn>
                <a:cxn ang="0">
                  <a:pos x="253" y="18"/>
                </a:cxn>
                <a:cxn ang="0">
                  <a:pos x="197" y="44"/>
                </a:cxn>
                <a:cxn ang="0">
                  <a:pos x="149" y="79"/>
                </a:cxn>
                <a:cxn ang="0">
                  <a:pos x="108" y="123"/>
                </a:cxn>
                <a:cxn ang="0">
                  <a:pos x="74" y="175"/>
                </a:cxn>
                <a:cxn ang="0">
                  <a:pos x="47" y="232"/>
                </a:cxn>
                <a:cxn ang="0">
                  <a:pos x="27" y="292"/>
                </a:cxn>
                <a:cxn ang="0">
                  <a:pos x="12" y="355"/>
                </a:cxn>
                <a:cxn ang="0">
                  <a:pos x="3" y="419"/>
                </a:cxn>
                <a:cxn ang="0">
                  <a:pos x="0" y="484"/>
                </a:cxn>
                <a:cxn ang="0">
                  <a:pos x="3" y="542"/>
                </a:cxn>
                <a:cxn ang="0">
                  <a:pos x="12" y="594"/>
                </a:cxn>
                <a:cxn ang="0">
                  <a:pos x="27" y="641"/>
                </a:cxn>
                <a:cxn ang="0">
                  <a:pos x="47" y="681"/>
                </a:cxn>
                <a:cxn ang="0">
                  <a:pos x="73" y="716"/>
                </a:cxn>
                <a:cxn ang="0">
                  <a:pos x="105" y="746"/>
                </a:cxn>
                <a:cxn ang="0">
                  <a:pos x="142" y="769"/>
                </a:cxn>
                <a:cxn ang="0">
                  <a:pos x="184" y="787"/>
                </a:cxn>
                <a:cxn ang="0">
                  <a:pos x="231" y="799"/>
                </a:cxn>
                <a:cxn ang="0">
                  <a:pos x="284" y="805"/>
                </a:cxn>
                <a:cxn ang="0">
                  <a:pos x="344" y="806"/>
                </a:cxn>
                <a:cxn ang="0">
                  <a:pos x="407" y="800"/>
                </a:cxn>
                <a:cxn ang="0">
                  <a:pos x="465" y="788"/>
                </a:cxn>
                <a:cxn ang="0">
                  <a:pos x="477" y="699"/>
                </a:cxn>
                <a:cxn ang="0">
                  <a:pos x="411" y="708"/>
                </a:cxn>
                <a:cxn ang="0">
                  <a:pos x="363" y="709"/>
                </a:cxn>
                <a:cxn ang="0">
                  <a:pos x="318" y="705"/>
                </a:cxn>
                <a:cxn ang="0">
                  <a:pos x="277" y="697"/>
                </a:cxn>
                <a:cxn ang="0">
                  <a:pos x="242" y="685"/>
                </a:cxn>
                <a:cxn ang="0">
                  <a:pos x="213" y="668"/>
                </a:cxn>
                <a:cxn ang="0">
                  <a:pos x="188" y="647"/>
                </a:cxn>
                <a:cxn ang="0">
                  <a:pos x="167" y="621"/>
                </a:cxn>
                <a:cxn ang="0">
                  <a:pos x="151" y="590"/>
                </a:cxn>
                <a:cxn ang="0">
                  <a:pos x="140" y="554"/>
                </a:cxn>
                <a:cxn ang="0">
                  <a:pos x="133" y="514"/>
                </a:cxn>
                <a:cxn ang="0">
                  <a:pos x="130" y="436"/>
                </a:cxn>
                <a:cxn ang="0">
                  <a:pos x="134" y="391"/>
                </a:cxn>
                <a:cxn ang="0">
                  <a:pos x="589" y="330"/>
                </a:cxn>
                <a:cxn ang="0">
                  <a:pos x="602" y="263"/>
                </a:cxn>
                <a:cxn ang="0">
                  <a:pos x="605" y="218"/>
                </a:cxn>
              </a:cxnLst>
              <a:rect l="0" t="0" r="r" b="b"/>
              <a:pathLst>
                <a:path w="605" h="806">
                  <a:moveTo>
                    <a:pt x="492" y="210"/>
                  </a:moveTo>
                  <a:lnTo>
                    <a:pt x="492" y="221"/>
                  </a:lnTo>
                  <a:lnTo>
                    <a:pt x="491" y="229"/>
                  </a:lnTo>
                  <a:lnTo>
                    <a:pt x="490" y="233"/>
                  </a:lnTo>
                  <a:lnTo>
                    <a:pt x="489" y="236"/>
                  </a:lnTo>
                  <a:lnTo>
                    <a:pt x="487" y="239"/>
                  </a:lnTo>
                  <a:lnTo>
                    <a:pt x="484" y="242"/>
                  </a:lnTo>
                  <a:lnTo>
                    <a:pt x="162" y="242"/>
                  </a:lnTo>
                  <a:lnTo>
                    <a:pt x="169" y="226"/>
                  </a:lnTo>
                  <a:lnTo>
                    <a:pt x="177" y="210"/>
                  </a:lnTo>
                  <a:lnTo>
                    <a:pt x="186" y="195"/>
                  </a:lnTo>
                  <a:lnTo>
                    <a:pt x="195" y="181"/>
                  </a:lnTo>
                  <a:lnTo>
                    <a:pt x="205" y="167"/>
                  </a:lnTo>
                  <a:lnTo>
                    <a:pt x="215" y="154"/>
                  </a:lnTo>
                  <a:lnTo>
                    <a:pt x="226" y="142"/>
                  </a:lnTo>
                  <a:lnTo>
                    <a:pt x="238" y="131"/>
                  </a:lnTo>
                  <a:lnTo>
                    <a:pt x="250" y="122"/>
                  </a:lnTo>
                  <a:lnTo>
                    <a:pt x="263" y="113"/>
                  </a:lnTo>
                  <a:lnTo>
                    <a:pt x="278" y="106"/>
                  </a:lnTo>
                  <a:lnTo>
                    <a:pt x="294" y="100"/>
                  </a:lnTo>
                  <a:lnTo>
                    <a:pt x="309" y="95"/>
                  </a:lnTo>
                  <a:lnTo>
                    <a:pt x="326" y="91"/>
                  </a:lnTo>
                  <a:lnTo>
                    <a:pt x="344" y="89"/>
                  </a:lnTo>
                  <a:lnTo>
                    <a:pt x="363" y="88"/>
                  </a:lnTo>
                  <a:lnTo>
                    <a:pt x="377" y="89"/>
                  </a:lnTo>
                  <a:lnTo>
                    <a:pt x="390" y="90"/>
                  </a:lnTo>
                  <a:lnTo>
                    <a:pt x="402" y="93"/>
                  </a:lnTo>
                  <a:lnTo>
                    <a:pt x="414" y="97"/>
                  </a:lnTo>
                  <a:lnTo>
                    <a:pt x="425" y="102"/>
                  </a:lnTo>
                  <a:lnTo>
                    <a:pt x="436" y="107"/>
                  </a:lnTo>
                  <a:lnTo>
                    <a:pt x="446" y="114"/>
                  </a:lnTo>
                  <a:lnTo>
                    <a:pt x="455" y="121"/>
                  </a:lnTo>
                  <a:lnTo>
                    <a:pt x="463" y="130"/>
                  </a:lnTo>
                  <a:lnTo>
                    <a:pt x="470" y="139"/>
                  </a:lnTo>
                  <a:lnTo>
                    <a:pt x="477" y="149"/>
                  </a:lnTo>
                  <a:lnTo>
                    <a:pt x="482" y="159"/>
                  </a:lnTo>
                  <a:lnTo>
                    <a:pt x="486" y="172"/>
                  </a:lnTo>
                  <a:lnTo>
                    <a:pt x="489" y="184"/>
                  </a:lnTo>
                  <a:lnTo>
                    <a:pt x="491" y="197"/>
                  </a:lnTo>
                  <a:lnTo>
                    <a:pt x="492" y="210"/>
                  </a:lnTo>
                  <a:close/>
                  <a:moveTo>
                    <a:pt x="605" y="218"/>
                  </a:moveTo>
                  <a:lnTo>
                    <a:pt x="605" y="205"/>
                  </a:lnTo>
                  <a:lnTo>
                    <a:pt x="604" y="193"/>
                  </a:lnTo>
                  <a:lnTo>
                    <a:pt x="603" y="181"/>
                  </a:lnTo>
                  <a:lnTo>
                    <a:pt x="601" y="169"/>
                  </a:lnTo>
                  <a:lnTo>
                    <a:pt x="598" y="157"/>
                  </a:lnTo>
                  <a:lnTo>
                    <a:pt x="595" y="146"/>
                  </a:lnTo>
                  <a:lnTo>
                    <a:pt x="591" y="136"/>
                  </a:lnTo>
                  <a:lnTo>
                    <a:pt x="587" y="125"/>
                  </a:lnTo>
                  <a:lnTo>
                    <a:pt x="582" y="116"/>
                  </a:lnTo>
                  <a:lnTo>
                    <a:pt x="577" y="106"/>
                  </a:lnTo>
                  <a:lnTo>
                    <a:pt x="571" y="97"/>
                  </a:lnTo>
                  <a:lnTo>
                    <a:pt x="565" y="88"/>
                  </a:lnTo>
                  <a:lnTo>
                    <a:pt x="558" y="80"/>
                  </a:lnTo>
                  <a:lnTo>
                    <a:pt x="551" y="72"/>
                  </a:lnTo>
                  <a:lnTo>
                    <a:pt x="543" y="64"/>
                  </a:lnTo>
                  <a:lnTo>
                    <a:pt x="535" y="57"/>
                  </a:lnTo>
                  <a:lnTo>
                    <a:pt x="527" y="50"/>
                  </a:lnTo>
                  <a:lnTo>
                    <a:pt x="518" y="44"/>
                  </a:lnTo>
                  <a:lnTo>
                    <a:pt x="509" y="38"/>
                  </a:lnTo>
                  <a:lnTo>
                    <a:pt x="500" y="33"/>
                  </a:lnTo>
                  <a:lnTo>
                    <a:pt x="480" y="23"/>
                  </a:lnTo>
                  <a:lnTo>
                    <a:pt x="459" y="15"/>
                  </a:lnTo>
                  <a:lnTo>
                    <a:pt x="436" y="8"/>
                  </a:lnTo>
                  <a:lnTo>
                    <a:pt x="413" y="4"/>
                  </a:lnTo>
                  <a:lnTo>
                    <a:pt x="389" y="1"/>
                  </a:lnTo>
                  <a:lnTo>
                    <a:pt x="363" y="0"/>
                  </a:lnTo>
                  <a:lnTo>
                    <a:pt x="340" y="1"/>
                  </a:lnTo>
                  <a:lnTo>
                    <a:pt x="317" y="3"/>
                  </a:lnTo>
                  <a:lnTo>
                    <a:pt x="295" y="6"/>
                  </a:lnTo>
                  <a:lnTo>
                    <a:pt x="273" y="11"/>
                  </a:lnTo>
                  <a:lnTo>
                    <a:pt x="253" y="18"/>
                  </a:lnTo>
                  <a:lnTo>
                    <a:pt x="233" y="25"/>
                  </a:lnTo>
                  <a:lnTo>
                    <a:pt x="215" y="34"/>
                  </a:lnTo>
                  <a:lnTo>
                    <a:pt x="197" y="44"/>
                  </a:lnTo>
                  <a:lnTo>
                    <a:pt x="181" y="55"/>
                  </a:lnTo>
                  <a:lnTo>
                    <a:pt x="165" y="66"/>
                  </a:lnTo>
                  <a:lnTo>
                    <a:pt x="149" y="79"/>
                  </a:lnTo>
                  <a:lnTo>
                    <a:pt x="135" y="93"/>
                  </a:lnTo>
                  <a:lnTo>
                    <a:pt x="121" y="108"/>
                  </a:lnTo>
                  <a:lnTo>
                    <a:pt x="108" y="123"/>
                  </a:lnTo>
                  <a:lnTo>
                    <a:pt x="96" y="140"/>
                  </a:lnTo>
                  <a:lnTo>
                    <a:pt x="85" y="157"/>
                  </a:lnTo>
                  <a:lnTo>
                    <a:pt x="74" y="175"/>
                  </a:lnTo>
                  <a:lnTo>
                    <a:pt x="65" y="193"/>
                  </a:lnTo>
                  <a:lnTo>
                    <a:pt x="56" y="212"/>
                  </a:lnTo>
                  <a:lnTo>
                    <a:pt x="47" y="232"/>
                  </a:lnTo>
                  <a:lnTo>
                    <a:pt x="40" y="251"/>
                  </a:lnTo>
                  <a:lnTo>
                    <a:pt x="33" y="272"/>
                  </a:lnTo>
                  <a:lnTo>
                    <a:pt x="27" y="292"/>
                  </a:lnTo>
                  <a:lnTo>
                    <a:pt x="21" y="313"/>
                  </a:lnTo>
                  <a:lnTo>
                    <a:pt x="16" y="334"/>
                  </a:lnTo>
                  <a:lnTo>
                    <a:pt x="12" y="355"/>
                  </a:lnTo>
                  <a:lnTo>
                    <a:pt x="8" y="376"/>
                  </a:lnTo>
                  <a:lnTo>
                    <a:pt x="5" y="398"/>
                  </a:lnTo>
                  <a:lnTo>
                    <a:pt x="3" y="419"/>
                  </a:lnTo>
                  <a:lnTo>
                    <a:pt x="1" y="442"/>
                  </a:lnTo>
                  <a:lnTo>
                    <a:pt x="0" y="463"/>
                  </a:lnTo>
                  <a:lnTo>
                    <a:pt x="0" y="484"/>
                  </a:lnTo>
                  <a:lnTo>
                    <a:pt x="0" y="504"/>
                  </a:lnTo>
                  <a:lnTo>
                    <a:pt x="1" y="523"/>
                  </a:lnTo>
                  <a:lnTo>
                    <a:pt x="3" y="542"/>
                  </a:lnTo>
                  <a:lnTo>
                    <a:pt x="5" y="560"/>
                  </a:lnTo>
                  <a:lnTo>
                    <a:pt x="8" y="578"/>
                  </a:lnTo>
                  <a:lnTo>
                    <a:pt x="12" y="594"/>
                  </a:lnTo>
                  <a:lnTo>
                    <a:pt x="17" y="610"/>
                  </a:lnTo>
                  <a:lnTo>
                    <a:pt x="22" y="626"/>
                  </a:lnTo>
                  <a:lnTo>
                    <a:pt x="27" y="641"/>
                  </a:lnTo>
                  <a:lnTo>
                    <a:pt x="33" y="655"/>
                  </a:lnTo>
                  <a:lnTo>
                    <a:pt x="40" y="668"/>
                  </a:lnTo>
                  <a:lnTo>
                    <a:pt x="47" y="681"/>
                  </a:lnTo>
                  <a:lnTo>
                    <a:pt x="55" y="693"/>
                  </a:lnTo>
                  <a:lnTo>
                    <a:pt x="64" y="705"/>
                  </a:lnTo>
                  <a:lnTo>
                    <a:pt x="73" y="716"/>
                  </a:lnTo>
                  <a:lnTo>
                    <a:pt x="83" y="727"/>
                  </a:lnTo>
                  <a:lnTo>
                    <a:pt x="94" y="737"/>
                  </a:lnTo>
                  <a:lnTo>
                    <a:pt x="105" y="746"/>
                  </a:lnTo>
                  <a:lnTo>
                    <a:pt x="116" y="754"/>
                  </a:lnTo>
                  <a:lnTo>
                    <a:pt x="129" y="762"/>
                  </a:lnTo>
                  <a:lnTo>
                    <a:pt x="142" y="769"/>
                  </a:lnTo>
                  <a:lnTo>
                    <a:pt x="155" y="776"/>
                  </a:lnTo>
                  <a:lnTo>
                    <a:pt x="169" y="782"/>
                  </a:lnTo>
                  <a:lnTo>
                    <a:pt x="184" y="787"/>
                  </a:lnTo>
                  <a:lnTo>
                    <a:pt x="199" y="791"/>
                  </a:lnTo>
                  <a:lnTo>
                    <a:pt x="215" y="795"/>
                  </a:lnTo>
                  <a:lnTo>
                    <a:pt x="231" y="799"/>
                  </a:lnTo>
                  <a:lnTo>
                    <a:pt x="248" y="802"/>
                  </a:lnTo>
                  <a:lnTo>
                    <a:pt x="266" y="804"/>
                  </a:lnTo>
                  <a:lnTo>
                    <a:pt x="284" y="805"/>
                  </a:lnTo>
                  <a:lnTo>
                    <a:pt x="304" y="806"/>
                  </a:lnTo>
                  <a:lnTo>
                    <a:pt x="323" y="806"/>
                  </a:lnTo>
                  <a:lnTo>
                    <a:pt x="344" y="806"/>
                  </a:lnTo>
                  <a:lnTo>
                    <a:pt x="365" y="805"/>
                  </a:lnTo>
                  <a:lnTo>
                    <a:pt x="386" y="803"/>
                  </a:lnTo>
                  <a:lnTo>
                    <a:pt x="407" y="800"/>
                  </a:lnTo>
                  <a:lnTo>
                    <a:pt x="427" y="797"/>
                  </a:lnTo>
                  <a:lnTo>
                    <a:pt x="446" y="793"/>
                  </a:lnTo>
                  <a:lnTo>
                    <a:pt x="465" y="788"/>
                  </a:lnTo>
                  <a:lnTo>
                    <a:pt x="484" y="782"/>
                  </a:lnTo>
                  <a:lnTo>
                    <a:pt x="508" y="693"/>
                  </a:lnTo>
                  <a:lnTo>
                    <a:pt x="477" y="699"/>
                  </a:lnTo>
                  <a:lnTo>
                    <a:pt x="444" y="704"/>
                  </a:lnTo>
                  <a:lnTo>
                    <a:pt x="427" y="706"/>
                  </a:lnTo>
                  <a:lnTo>
                    <a:pt x="411" y="708"/>
                  </a:lnTo>
                  <a:lnTo>
                    <a:pt x="395" y="709"/>
                  </a:lnTo>
                  <a:lnTo>
                    <a:pt x="379" y="709"/>
                  </a:lnTo>
                  <a:lnTo>
                    <a:pt x="363" y="709"/>
                  </a:lnTo>
                  <a:lnTo>
                    <a:pt x="347" y="708"/>
                  </a:lnTo>
                  <a:lnTo>
                    <a:pt x="332" y="707"/>
                  </a:lnTo>
                  <a:lnTo>
                    <a:pt x="318" y="705"/>
                  </a:lnTo>
                  <a:lnTo>
                    <a:pt x="304" y="703"/>
                  </a:lnTo>
                  <a:lnTo>
                    <a:pt x="291" y="701"/>
                  </a:lnTo>
                  <a:lnTo>
                    <a:pt x="277" y="697"/>
                  </a:lnTo>
                  <a:lnTo>
                    <a:pt x="265" y="694"/>
                  </a:lnTo>
                  <a:lnTo>
                    <a:pt x="253" y="690"/>
                  </a:lnTo>
                  <a:lnTo>
                    <a:pt x="242" y="685"/>
                  </a:lnTo>
                  <a:lnTo>
                    <a:pt x="232" y="680"/>
                  </a:lnTo>
                  <a:lnTo>
                    <a:pt x="222" y="674"/>
                  </a:lnTo>
                  <a:lnTo>
                    <a:pt x="213" y="668"/>
                  </a:lnTo>
                  <a:lnTo>
                    <a:pt x="204" y="662"/>
                  </a:lnTo>
                  <a:lnTo>
                    <a:pt x="195" y="654"/>
                  </a:lnTo>
                  <a:lnTo>
                    <a:pt x="188" y="647"/>
                  </a:lnTo>
                  <a:lnTo>
                    <a:pt x="180" y="639"/>
                  </a:lnTo>
                  <a:lnTo>
                    <a:pt x="174" y="630"/>
                  </a:lnTo>
                  <a:lnTo>
                    <a:pt x="167" y="621"/>
                  </a:lnTo>
                  <a:lnTo>
                    <a:pt x="162" y="611"/>
                  </a:lnTo>
                  <a:lnTo>
                    <a:pt x="156" y="601"/>
                  </a:lnTo>
                  <a:lnTo>
                    <a:pt x="151" y="590"/>
                  </a:lnTo>
                  <a:lnTo>
                    <a:pt x="147" y="579"/>
                  </a:lnTo>
                  <a:lnTo>
                    <a:pt x="143" y="567"/>
                  </a:lnTo>
                  <a:lnTo>
                    <a:pt x="140" y="554"/>
                  </a:lnTo>
                  <a:lnTo>
                    <a:pt x="137" y="541"/>
                  </a:lnTo>
                  <a:lnTo>
                    <a:pt x="135" y="528"/>
                  </a:lnTo>
                  <a:lnTo>
                    <a:pt x="133" y="514"/>
                  </a:lnTo>
                  <a:lnTo>
                    <a:pt x="130" y="484"/>
                  </a:lnTo>
                  <a:lnTo>
                    <a:pt x="129" y="452"/>
                  </a:lnTo>
                  <a:lnTo>
                    <a:pt x="130" y="436"/>
                  </a:lnTo>
                  <a:lnTo>
                    <a:pt x="131" y="421"/>
                  </a:lnTo>
                  <a:lnTo>
                    <a:pt x="132" y="406"/>
                  </a:lnTo>
                  <a:lnTo>
                    <a:pt x="134" y="391"/>
                  </a:lnTo>
                  <a:lnTo>
                    <a:pt x="139" y="361"/>
                  </a:lnTo>
                  <a:lnTo>
                    <a:pt x="145" y="330"/>
                  </a:lnTo>
                  <a:lnTo>
                    <a:pt x="589" y="330"/>
                  </a:lnTo>
                  <a:lnTo>
                    <a:pt x="595" y="305"/>
                  </a:lnTo>
                  <a:lnTo>
                    <a:pt x="600" y="277"/>
                  </a:lnTo>
                  <a:lnTo>
                    <a:pt x="602" y="263"/>
                  </a:lnTo>
                  <a:lnTo>
                    <a:pt x="604" y="248"/>
                  </a:lnTo>
                  <a:lnTo>
                    <a:pt x="605" y="233"/>
                  </a:lnTo>
                  <a:lnTo>
                    <a:pt x="605" y="21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  <a:cs typeface="+mn-cs"/>
              </a:endParaRPr>
            </a:p>
          </p:txBody>
        </p:sp>
        <p:sp>
          <p:nvSpPr>
            <p:cNvPr id="32" name="Freeform 29"/>
            <p:cNvSpPr>
              <a:spLocks/>
            </p:cNvSpPr>
            <p:nvPr/>
          </p:nvSpPr>
          <p:spPr bwMode="gray">
            <a:xfrm>
              <a:off x="2716213" y="3887788"/>
              <a:ext cx="41275" cy="33337"/>
            </a:xfrm>
            <a:custGeom>
              <a:avLst/>
              <a:gdLst/>
              <a:ahLst/>
              <a:cxnLst>
                <a:cxn ang="0">
                  <a:pos x="161" y="161"/>
                </a:cxn>
                <a:cxn ang="0">
                  <a:pos x="0" y="161"/>
                </a:cxn>
                <a:cxn ang="0">
                  <a:pos x="33" y="0"/>
                </a:cxn>
                <a:cxn ang="0">
                  <a:pos x="193" y="0"/>
                </a:cxn>
                <a:cxn ang="0">
                  <a:pos x="161" y="161"/>
                </a:cxn>
              </a:cxnLst>
              <a:rect l="0" t="0" r="r" b="b"/>
              <a:pathLst>
                <a:path w="193" h="161">
                  <a:moveTo>
                    <a:pt x="161" y="161"/>
                  </a:moveTo>
                  <a:lnTo>
                    <a:pt x="0" y="161"/>
                  </a:lnTo>
                  <a:lnTo>
                    <a:pt x="33" y="0"/>
                  </a:lnTo>
                  <a:lnTo>
                    <a:pt x="193" y="0"/>
                  </a:lnTo>
                  <a:lnTo>
                    <a:pt x="161" y="16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  <a:cs typeface="+mn-cs"/>
              </a:endParaRPr>
            </a:p>
          </p:txBody>
        </p:sp>
        <p:sp>
          <p:nvSpPr>
            <p:cNvPr id="33" name="Freeform 30"/>
            <p:cNvSpPr>
              <a:spLocks noEditPoints="1"/>
            </p:cNvSpPr>
            <p:nvPr/>
          </p:nvSpPr>
          <p:spPr bwMode="gray">
            <a:xfrm>
              <a:off x="2819400" y="3679825"/>
              <a:ext cx="180975" cy="241300"/>
            </a:xfrm>
            <a:custGeom>
              <a:avLst/>
              <a:gdLst/>
              <a:ahLst/>
              <a:cxnLst>
                <a:cxn ang="0">
                  <a:pos x="698" y="475"/>
                </a:cxn>
                <a:cxn ang="0">
                  <a:pos x="688" y="557"/>
                </a:cxn>
                <a:cxn ang="0">
                  <a:pos x="673" y="639"/>
                </a:cxn>
                <a:cxn ang="0">
                  <a:pos x="651" y="718"/>
                </a:cxn>
                <a:cxn ang="0">
                  <a:pos x="620" y="794"/>
                </a:cxn>
                <a:cxn ang="0">
                  <a:pos x="580" y="862"/>
                </a:cxn>
                <a:cxn ang="0">
                  <a:pos x="532" y="920"/>
                </a:cxn>
                <a:cxn ang="0">
                  <a:pos x="473" y="967"/>
                </a:cxn>
                <a:cxn ang="0">
                  <a:pos x="403" y="999"/>
                </a:cxn>
                <a:cxn ang="0">
                  <a:pos x="321" y="1015"/>
                </a:cxn>
                <a:cxn ang="0">
                  <a:pos x="323" y="105"/>
                </a:cxn>
                <a:cxn ang="0">
                  <a:pos x="479" y="108"/>
                </a:cxn>
                <a:cxn ang="0">
                  <a:pos x="524" y="115"/>
                </a:cxn>
                <a:cxn ang="0">
                  <a:pos x="564" y="126"/>
                </a:cxn>
                <a:cxn ang="0">
                  <a:pos x="600" y="142"/>
                </a:cxn>
                <a:cxn ang="0">
                  <a:pos x="629" y="162"/>
                </a:cxn>
                <a:cxn ang="0">
                  <a:pos x="654" y="188"/>
                </a:cxn>
                <a:cxn ang="0">
                  <a:pos x="674" y="221"/>
                </a:cxn>
                <a:cxn ang="0">
                  <a:pos x="688" y="258"/>
                </a:cxn>
                <a:cxn ang="0">
                  <a:pos x="697" y="302"/>
                </a:cxn>
                <a:cxn ang="0">
                  <a:pos x="702" y="353"/>
                </a:cxn>
                <a:cxn ang="0">
                  <a:pos x="838" y="348"/>
                </a:cxn>
                <a:cxn ang="0">
                  <a:pos x="833" y="284"/>
                </a:cxn>
                <a:cxn ang="0">
                  <a:pos x="821" y="226"/>
                </a:cxn>
                <a:cxn ang="0">
                  <a:pos x="803" y="174"/>
                </a:cxn>
                <a:cxn ang="0">
                  <a:pos x="778" y="130"/>
                </a:cxn>
                <a:cxn ang="0">
                  <a:pos x="747" y="92"/>
                </a:cxn>
                <a:cxn ang="0">
                  <a:pos x="709" y="61"/>
                </a:cxn>
                <a:cxn ang="0">
                  <a:pos x="665" y="36"/>
                </a:cxn>
                <a:cxn ang="0">
                  <a:pos x="614" y="18"/>
                </a:cxn>
                <a:cxn ang="0">
                  <a:pos x="555" y="6"/>
                </a:cxn>
                <a:cxn ang="0">
                  <a:pos x="491" y="1"/>
                </a:cxn>
                <a:cxn ang="0">
                  <a:pos x="0" y="1121"/>
                </a:cxn>
                <a:cxn ang="0">
                  <a:pos x="345" y="1117"/>
                </a:cxn>
                <a:cxn ang="0">
                  <a:pos x="449" y="1095"/>
                </a:cxn>
                <a:cxn ang="0">
                  <a:pos x="539" y="1057"/>
                </a:cxn>
                <a:cxn ang="0">
                  <a:pos x="616" y="1002"/>
                </a:cxn>
                <a:cxn ang="0">
                  <a:pos x="680" y="936"/>
                </a:cxn>
                <a:cxn ang="0">
                  <a:pos x="732" y="859"/>
                </a:cxn>
                <a:cxn ang="0">
                  <a:pos x="772" y="772"/>
                </a:cxn>
                <a:cxn ang="0">
                  <a:pos x="802" y="677"/>
                </a:cxn>
                <a:cxn ang="0">
                  <a:pos x="823" y="578"/>
                </a:cxn>
                <a:cxn ang="0">
                  <a:pos x="835" y="475"/>
                </a:cxn>
                <a:cxn ang="0">
                  <a:pos x="838" y="371"/>
                </a:cxn>
              </a:cxnLst>
              <a:rect l="0" t="0" r="r" b="b"/>
              <a:pathLst>
                <a:path w="838" h="1121">
                  <a:moveTo>
                    <a:pt x="702" y="371"/>
                  </a:moveTo>
                  <a:lnTo>
                    <a:pt x="701" y="422"/>
                  </a:lnTo>
                  <a:lnTo>
                    <a:pt x="698" y="475"/>
                  </a:lnTo>
                  <a:lnTo>
                    <a:pt x="695" y="503"/>
                  </a:lnTo>
                  <a:lnTo>
                    <a:pt x="692" y="530"/>
                  </a:lnTo>
                  <a:lnTo>
                    <a:pt x="688" y="557"/>
                  </a:lnTo>
                  <a:lnTo>
                    <a:pt x="684" y="584"/>
                  </a:lnTo>
                  <a:lnTo>
                    <a:pt x="679" y="612"/>
                  </a:lnTo>
                  <a:lnTo>
                    <a:pt x="673" y="639"/>
                  </a:lnTo>
                  <a:lnTo>
                    <a:pt x="666" y="666"/>
                  </a:lnTo>
                  <a:lnTo>
                    <a:pt x="659" y="692"/>
                  </a:lnTo>
                  <a:lnTo>
                    <a:pt x="651" y="718"/>
                  </a:lnTo>
                  <a:lnTo>
                    <a:pt x="641" y="744"/>
                  </a:lnTo>
                  <a:lnTo>
                    <a:pt x="631" y="769"/>
                  </a:lnTo>
                  <a:lnTo>
                    <a:pt x="620" y="794"/>
                  </a:lnTo>
                  <a:lnTo>
                    <a:pt x="608" y="818"/>
                  </a:lnTo>
                  <a:lnTo>
                    <a:pt x="595" y="840"/>
                  </a:lnTo>
                  <a:lnTo>
                    <a:pt x="580" y="862"/>
                  </a:lnTo>
                  <a:lnTo>
                    <a:pt x="565" y="882"/>
                  </a:lnTo>
                  <a:lnTo>
                    <a:pt x="549" y="902"/>
                  </a:lnTo>
                  <a:lnTo>
                    <a:pt x="532" y="920"/>
                  </a:lnTo>
                  <a:lnTo>
                    <a:pt x="514" y="937"/>
                  </a:lnTo>
                  <a:lnTo>
                    <a:pt x="494" y="953"/>
                  </a:lnTo>
                  <a:lnTo>
                    <a:pt x="473" y="967"/>
                  </a:lnTo>
                  <a:lnTo>
                    <a:pt x="451" y="979"/>
                  </a:lnTo>
                  <a:lnTo>
                    <a:pt x="428" y="990"/>
                  </a:lnTo>
                  <a:lnTo>
                    <a:pt x="403" y="999"/>
                  </a:lnTo>
                  <a:lnTo>
                    <a:pt x="377" y="1006"/>
                  </a:lnTo>
                  <a:lnTo>
                    <a:pt x="350" y="1012"/>
                  </a:lnTo>
                  <a:lnTo>
                    <a:pt x="321" y="1015"/>
                  </a:lnTo>
                  <a:lnTo>
                    <a:pt x="290" y="1016"/>
                  </a:lnTo>
                  <a:lnTo>
                    <a:pt x="145" y="1016"/>
                  </a:lnTo>
                  <a:lnTo>
                    <a:pt x="323" y="105"/>
                  </a:lnTo>
                  <a:lnTo>
                    <a:pt x="412" y="105"/>
                  </a:lnTo>
                  <a:lnTo>
                    <a:pt x="447" y="106"/>
                  </a:lnTo>
                  <a:lnTo>
                    <a:pt x="479" y="108"/>
                  </a:lnTo>
                  <a:lnTo>
                    <a:pt x="495" y="110"/>
                  </a:lnTo>
                  <a:lnTo>
                    <a:pt x="510" y="112"/>
                  </a:lnTo>
                  <a:lnTo>
                    <a:pt x="524" y="115"/>
                  </a:lnTo>
                  <a:lnTo>
                    <a:pt x="538" y="118"/>
                  </a:lnTo>
                  <a:lnTo>
                    <a:pt x="551" y="122"/>
                  </a:lnTo>
                  <a:lnTo>
                    <a:pt x="564" y="126"/>
                  </a:lnTo>
                  <a:lnTo>
                    <a:pt x="576" y="131"/>
                  </a:lnTo>
                  <a:lnTo>
                    <a:pt x="589" y="136"/>
                  </a:lnTo>
                  <a:lnTo>
                    <a:pt x="600" y="142"/>
                  </a:lnTo>
                  <a:lnTo>
                    <a:pt x="610" y="148"/>
                  </a:lnTo>
                  <a:lnTo>
                    <a:pt x="620" y="155"/>
                  </a:lnTo>
                  <a:lnTo>
                    <a:pt x="629" y="162"/>
                  </a:lnTo>
                  <a:lnTo>
                    <a:pt x="638" y="170"/>
                  </a:lnTo>
                  <a:lnTo>
                    <a:pt x="646" y="179"/>
                  </a:lnTo>
                  <a:lnTo>
                    <a:pt x="654" y="188"/>
                  </a:lnTo>
                  <a:lnTo>
                    <a:pt x="661" y="198"/>
                  </a:lnTo>
                  <a:lnTo>
                    <a:pt x="668" y="208"/>
                  </a:lnTo>
                  <a:lnTo>
                    <a:pt x="674" y="221"/>
                  </a:lnTo>
                  <a:lnTo>
                    <a:pt x="679" y="232"/>
                  </a:lnTo>
                  <a:lnTo>
                    <a:pt x="684" y="245"/>
                  </a:lnTo>
                  <a:lnTo>
                    <a:pt x="688" y="258"/>
                  </a:lnTo>
                  <a:lnTo>
                    <a:pt x="692" y="272"/>
                  </a:lnTo>
                  <a:lnTo>
                    <a:pt x="695" y="287"/>
                  </a:lnTo>
                  <a:lnTo>
                    <a:pt x="697" y="302"/>
                  </a:lnTo>
                  <a:lnTo>
                    <a:pt x="699" y="318"/>
                  </a:lnTo>
                  <a:lnTo>
                    <a:pt x="701" y="335"/>
                  </a:lnTo>
                  <a:lnTo>
                    <a:pt x="702" y="353"/>
                  </a:lnTo>
                  <a:lnTo>
                    <a:pt x="702" y="371"/>
                  </a:lnTo>
                  <a:close/>
                  <a:moveTo>
                    <a:pt x="838" y="371"/>
                  </a:moveTo>
                  <a:lnTo>
                    <a:pt x="838" y="348"/>
                  </a:lnTo>
                  <a:lnTo>
                    <a:pt x="837" y="326"/>
                  </a:lnTo>
                  <a:lnTo>
                    <a:pt x="835" y="304"/>
                  </a:lnTo>
                  <a:lnTo>
                    <a:pt x="833" y="284"/>
                  </a:lnTo>
                  <a:lnTo>
                    <a:pt x="830" y="264"/>
                  </a:lnTo>
                  <a:lnTo>
                    <a:pt x="826" y="244"/>
                  </a:lnTo>
                  <a:lnTo>
                    <a:pt x="821" y="226"/>
                  </a:lnTo>
                  <a:lnTo>
                    <a:pt x="816" y="207"/>
                  </a:lnTo>
                  <a:lnTo>
                    <a:pt x="810" y="190"/>
                  </a:lnTo>
                  <a:lnTo>
                    <a:pt x="803" y="174"/>
                  </a:lnTo>
                  <a:lnTo>
                    <a:pt x="795" y="158"/>
                  </a:lnTo>
                  <a:lnTo>
                    <a:pt x="787" y="144"/>
                  </a:lnTo>
                  <a:lnTo>
                    <a:pt x="778" y="130"/>
                  </a:lnTo>
                  <a:lnTo>
                    <a:pt x="768" y="116"/>
                  </a:lnTo>
                  <a:lnTo>
                    <a:pt x="758" y="104"/>
                  </a:lnTo>
                  <a:lnTo>
                    <a:pt x="747" y="92"/>
                  </a:lnTo>
                  <a:lnTo>
                    <a:pt x="735" y="81"/>
                  </a:lnTo>
                  <a:lnTo>
                    <a:pt x="723" y="70"/>
                  </a:lnTo>
                  <a:lnTo>
                    <a:pt x="709" y="61"/>
                  </a:lnTo>
                  <a:lnTo>
                    <a:pt x="695" y="52"/>
                  </a:lnTo>
                  <a:lnTo>
                    <a:pt x="680" y="43"/>
                  </a:lnTo>
                  <a:lnTo>
                    <a:pt x="665" y="36"/>
                  </a:lnTo>
                  <a:lnTo>
                    <a:pt x="649" y="29"/>
                  </a:lnTo>
                  <a:lnTo>
                    <a:pt x="632" y="23"/>
                  </a:lnTo>
                  <a:lnTo>
                    <a:pt x="614" y="18"/>
                  </a:lnTo>
                  <a:lnTo>
                    <a:pt x="595" y="13"/>
                  </a:lnTo>
                  <a:lnTo>
                    <a:pt x="575" y="9"/>
                  </a:lnTo>
                  <a:lnTo>
                    <a:pt x="555" y="6"/>
                  </a:lnTo>
                  <a:lnTo>
                    <a:pt x="534" y="4"/>
                  </a:lnTo>
                  <a:lnTo>
                    <a:pt x="513" y="2"/>
                  </a:lnTo>
                  <a:lnTo>
                    <a:pt x="491" y="1"/>
                  </a:lnTo>
                  <a:lnTo>
                    <a:pt x="468" y="0"/>
                  </a:lnTo>
                  <a:lnTo>
                    <a:pt x="218" y="0"/>
                  </a:lnTo>
                  <a:lnTo>
                    <a:pt x="0" y="1121"/>
                  </a:lnTo>
                  <a:lnTo>
                    <a:pt x="266" y="1121"/>
                  </a:lnTo>
                  <a:lnTo>
                    <a:pt x="307" y="1120"/>
                  </a:lnTo>
                  <a:lnTo>
                    <a:pt x="345" y="1117"/>
                  </a:lnTo>
                  <a:lnTo>
                    <a:pt x="381" y="1112"/>
                  </a:lnTo>
                  <a:lnTo>
                    <a:pt x="416" y="1104"/>
                  </a:lnTo>
                  <a:lnTo>
                    <a:pt x="449" y="1095"/>
                  </a:lnTo>
                  <a:lnTo>
                    <a:pt x="481" y="1084"/>
                  </a:lnTo>
                  <a:lnTo>
                    <a:pt x="511" y="1071"/>
                  </a:lnTo>
                  <a:lnTo>
                    <a:pt x="539" y="1057"/>
                  </a:lnTo>
                  <a:lnTo>
                    <a:pt x="566" y="1039"/>
                  </a:lnTo>
                  <a:lnTo>
                    <a:pt x="592" y="1022"/>
                  </a:lnTo>
                  <a:lnTo>
                    <a:pt x="616" y="1002"/>
                  </a:lnTo>
                  <a:lnTo>
                    <a:pt x="639" y="981"/>
                  </a:lnTo>
                  <a:lnTo>
                    <a:pt x="660" y="959"/>
                  </a:lnTo>
                  <a:lnTo>
                    <a:pt x="680" y="936"/>
                  </a:lnTo>
                  <a:lnTo>
                    <a:pt x="699" y="911"/>
                  </a:lnTo>
                  <a:lnTo>
                    <a:pt x="716" y="885"/>
                  </a:lnTo>
                  <a:lnTo>
                    <a:pt x="732" y="859"/>
                  </a:lnTo>
                  <a:lnTo>
                    <a:pt x="746" y="831"/>
                  </a:lnTo>
                  <a:lnTo>
                    <a:pt x="760" y="802"/>
                  </a:lnTo>
                  <a:lnTo>
                    <a:pt x="772" y="772"/>
                  </a:lnTo>
                  <a:lnTo>
                    <a:pt x="783" y="741"/>
                  </a:lnTo>
                  <a:lnTo>
                    <a:pt x="793" y="709"/>
                  </a:lnTo>
                  <a:lnTo>
                    <a:pt x="802" y="677"/>
                  </a:lnTo>
                  <a:lnTo>
                    <a:pt x="810" y="645"/>
                  </a:lnTo>
                  <a:lnTo>
                    <a:pt x="817" y="612"/>
                  </a:lnTo>
                  <a:lnTo>
                    <a:pt x="823" y="578"/>
                  </a:lnTo>
                  <a:lnTo>
                    <a:pt x="828" y="544"/>
                  </a:lnTo>
                  <a:lnTo>
                    <a:pt x="832" y="510"/>
                  </a:lnTo>
                  <a:lnTo>
                    <a:pt x="835" y="475"/>
                  </a:lnTo>
                  <a:lnTo>
                    <a:pt x="837" y="440"/>
                  </a:lnTo>
                  <a:lnTo>
                    <a:pt x="838" y="406"/>
                  </a:lnTo>
                  <a:lnTo>
                    <a:pt x="838" y="37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  <a:cs typeface="+mn-cs"/>
              </a:endParaRPr>
            </a:p>
          </p:txBody>
        </p:sp>
        <p:sp>
          <p:nvSpPr>
            <p:cNvPr id="34" name="Freeform 31"/>
            <p:cNvSpPr>
              <a:spLocks noEditPoints="1"/>
            </p:cNvSpPr>
            <p:nvPr/>
          </p:nvSpPr>
          <p:spPr bwMode="gray">
            <a:xfrm>
              <a:off x="3011488" y="3751263"/>
              <a:ext cx="128587" cy="173037"/>
            </a:xfrm>
            <a:custGeom>
              <a:avLst/>
              <a:gdLst/>
              <a:ahLst/>
              <a:cxnLst>
                <a:cxn ang="0">
                  <a:pos x="483" y="229"/>
                </a:cxn>
                <a:cxn ang="0">
                  <a:pos x="160" y="242"/>
                </a:cxn>
                <a:cxn ang="0">
                  <a:pos x="181" y="195"/>
                </a:cxn>
                <a:cxn ang="0">
                  <a:pos x="208" y="154"/>
                </a:cxn>
                <a:cxn ang="0">
                  <a:pos x="242" y="122"/>
                </a:cxn>
                <a:cxn ang="0">
                  <a:pos x="285" y="100"/>
                </a:cxn>
                <a:cxn ang="0">
                  <a:pos x="335" y="89"/>
                </a:cxn>
                <a:cxn ang="0">
                  <a:pos x="380" y="90"/>
                </a:cxn>
                <a:cxn ang="0">
                  <a:pos x="416" y="102"/>
                </a:cxn>
                <a:cxn ang="0">
                  <a:pos x="446" y="121"/>
                </a:cxn>
                <a:cxn ang="0">
                  <a:pos x="467" y="149"/>
                </a:cxn>
                <a:cxn ang="0">
                  <a:pos x="480" y="184"/>
                </a:cxn>
                <a:cxn ang="0">
                  <a:pos x="596" y="218"/>
                </a:cxn>
                <a:cxn ang="0">
                  <a:pos x="594" y="181"/>
                </a:cxn>
                <a:cxn ang="0">
                  <a:pos x="586" y="146"/>
                </a:cxn>
                <a:cxn ang="0">
                  <a:pos x="573" y="116"/>
                </a:cxn>
                <a:cxn ang="0">
                  <a:pos x="556" y="88"/>
                </a:cxn>
                <a:cxn ang="0">
                  <a:pos x="536" y="64"/>
                </a:cxn>
                <a:cxn ang="0">
                  <a:pos x="510" y="44"/>
                </a:cxn>
                <a:cxn ang="0">
                  <a:pos x="473" y="23"/>
                </a:cxn>
                <a:cxn ang="0">
                  <a:pos x="409" y="4"/>
                </a:cxn>
                <a:cxn ang="0">
                  <a:pos x="338" y="1"/>
                </a:cxn>
                <a:cxn ang="0">
                  <a:pos x="271" y="11"/>
                </a:cxn>
                <a:cxn ang="0">
                  <a:pos x="211" y="34"/>
                </a:cxn>
                <a:cxn ang="0">
                  <a:pos x="160" y="66"/>
                </a:cxn>
                <a:cxn ang="0">
                  <a:pos x="117" y="108"/>
                </a:cxn>
                <a:cxn ang="0">
                  <a:pos x="81" y="157"/>
                </a:cxn>
                <a:cxn ang="0">
                  <a:pos x="52" y="212"/>
                </a:cxn>
                <a:cxn ang="0">
                  <a:pos x="30" y="272"/>
                </a:cxn>
                <a:cxn ang="0">
                  <a:pos x="14" y="334"/>
                </a:cxn>
                <a:cxn ang="0">
                  <a:pos x="4" y="398"/>
                </a:cxn>
                <a:cxn ang="0">
                  <a:pos x="0" y="463"/>
                </a:cxn>
                <a:cxn ang="0">
                  <a:pos x="1" y="523"/>
                </a:cxn>
                <a:cxn ang="0">
                  <a:pos x="7" y="578"/>
                </a:cxn>
                <a:cxn ang="0">
                  <a:pos x="19" y="626"/>
                </a:cxn>
                <a:cxn ang="0">
                  <a:pos x="37" y="668"/>
                </a:cxn>
                <a:cxn ang="0">
                  <a:pos x="60" y="705"/>
                </a:cxn>
                <a:cxn ang="0">
                  <a:pos x="88" y="737"/>
                </a:cxn>
                <a:cxn ang="0">
                  <a:pos x="122" y="762"/>
                </a:cxn>
                <a:cxn ang="0">
                  <a:pos x="161" y="782"/>
                </a:cxn>
                <a:cxn ang="0">
                  <a:pos x="206" y="795"/>
                </a:cxn>
                <a:cxn ang="0">
                  <a:pos x="258" y="804"/>
                </a:cxn>
                <a:cxn ang="0">
                  <a:pos x="314" y="806"/>
                </a:cxn>
                <a:cxn ang="0">
                  <a:pos x="377" y="803"/>
                </a:cxn>
                <a:cxn ang="0">
                  <a:pos x="441" y="793"/>
                </a:cxn>
                <a:cxn ang="0">
                  <a:pos x="499" y="693"/>
                </a:cxn>
                <a:cxn ang="0">
                  <a:pos x="424" y="706"/>
                </a:cxn>
                <a:cxn ang="0">
                  <a:pos x="378" y="709"/>
                </a:cxn>
                <a:cxn ang="0">
                  <a:pos x="331" y="707"/>
                </a:cxn>
                <a:cxn ang="0">
                  <a:pos x="289" y="701"/>
                </a:cxn>
                <a:cxn ang="0">
                  <a:pos x="252" y="690"/>
                </a:cxn>
                <a:cxn ang="0">
                  <a:pos x="218" y="674"/>
                </a:cxn>
                <a:cxn ang="0">
                  <a:pos x="191" y="654"/>
                </a:cxn>
                <a:cxn ang="0">
                  <a:pos x="168" y="630"/>
                </a:cxn>
                <a:cxn ang="0">
                  <a:pos x="149" y="601"/>
                </a:cxn>
                <a:cxn ang="0">
                  <a:pos x="135" y="567"/>
                </a:cxn>
                <a:cxn ang="0">
                  <a:pos x="126" y="528"/>
                </a:cxn>
                <a:cxn ang="0">
                  <a:pos x="121" y="484"/>
                </a:cxn>
                <a:cxn ang="0">
                  <a:pos x="120" y="436"/>
                </a:cxn>
                <a:cxn ang="0">
                  <a:pos x="125" y="391"/>
                </a:cxn>
                <a:cxn ang="0">
                  <a:pos x="580" y="330"/>
                </a:cxn>
                <a:cxn ang="0">
                  <a:pos x="592" y="291"/>
                </a:cxn>
                <a:cxn ang="0">
                  <a:pos x="596" y="218"/>
                </a:cxn>
              </a:cxnLst>
              <a:rect l="0" t="0" r="r" b="b"/>
              <a:pathLst>
                <a:path w="596" h="806">
                  <a:moveTo>
                    <a:pt x="483" y="210"/>
                  </a:moveTo>
                  <a:lnTo>
                    <a:pt x="483" y="221"/>
                  </a:lnTo>
                  <a:lnTo>
                    <a:pt x="483" y="229"/>
                  </a:lnTo>
                  <a:lnTo>
                    <a:pt x="483" y="236"/>
                  </a:lnTo>
                  <a:lnTo>
                    <a:pt x="483" y="242"/>
                  </a:lnTo>
                  <a:lnTo>
                    <a:pt x="160" y="242"/>
                  </a:lnTo>
                  <a:lnTo>
                    <a:pt x="167" y="226"/>
                  </a:lnTo>
                  <a:lnTo>
                    <a:pt x="174" y="210"/>
                  </a:lnTo>
                  <a:lnTo>
                    <a:pt x="181" y="195"/>
                  </a:lnTo>
                  <a:lnTo>
                    <a:pt x="189" y="181"/>
                  </a:lnTo>
                  <a:lnTo>
                    <a:pt x="198" y="167"/>
                  </a:lnTo>
                  <a:lnTo>
                    <a:pt x="208" y="154"/>
                  </a:lnTo>
                  <a:lnTo>
                    <a:pt x="218" y="142"/>
                  </a:lnTo>
                  <a:lnTo>
                    <a:pt x="230" y="131"/>
                  </a:lnTo>
                  <a:lnTo>
                    <a:pt x="242" y="122"/>
                  </a:lnTo>
                  <a:lnTo>
                    <a:pt x="256" y="113"/>
                  </a:lnTo>
                  <a:lnTo>
                    <a:pt x="270" y="106"/>
                  </a:lnTo>
                  <a:lnTo>
                    <a:pt x="285" y="100"/>
                  </a:lnTo>
                  <a:lnTo>
                    <a:pt x="300" y="95"/>
                  </a:lnTo>
                  <a:lnTo>
                    <a:pt x="317" y="91"/>
                  </a:lnTo>
                  <a:lnTo>
                    <a:pt x="335" y="89"/>
                  </a:lnTo>
                  <a:lnTo>
                    <a:pt x="354" y="88"/>
                  </a:lnTo>
                  <a:lnTo>
                    <a:pt x="368" y="89"/>
                  </a:lnTo>
                  <a:lnTo>
                    <a:pt x="380" y="90"/>
                  </a:lnTo>
                  <a:lnTo>
                    <a:pt x="393" y="93"/>
                  </a:lnTo>
                  <a:lnTo>
                    <a:pt x="405" y="97"/>
                  </a:lnTo>
                  <a:lnTo>
                    <a:pt x="416" y="102"/>
                  </a:lnTo>
                  <a:lnTo>
                    <a:pt x="427" y="107"/>
                  </a:lnTo>
                  <a:lnTo>
                    <a:pt x="437" y="114"/>
                  </a:lnTo>
                  <a:lnTo>
                    <a:pt x="446" y="121"/>
                  </a:lnTo>
                  <a:lnTo>
                    <a:pt x="454" y="130"/>
                  </a:lnTo>
                  <a:lnTo>
                    <a:pt x="461" y="139"/>
                  </a:lnTo>
                  <a:lnTo>
                    <a:pt x="467" y="149"/>
                  </a:lnTo>
                  <a:lnTo>
                    <a:pt x="473" y="159"/>
                  </a:lnTo>
                  <a:lnTo>
                    <a:pt x="477" y="172"/>
                  </a:lnTo>
                  <a:lnTo>
                    <a:pt x="480" y="184"/>
                  </a:lnTo>
                  <a:lnTo>
                    <a:pt x="482" y="197"/>
                  </a:lnTo>
                  <a:lnTo>
                    <a:pt x="483" y="210"/>
                  </a:lnTo>
                  <a:close/>
                  <a:moveTo>
                    <a:pt x="596" y="218"/>
                  </a:moveTo>
                  <a:lnTo>
                    <a:pt x="596" y="205"/>
                  </a:lnTo>
                  <a:lnTo>
                    <a:pt x="595" y="193"/>
                  </a:lnTo>
                  <a:lnTo>
                    <a:pt x="594" y="181"/>
                  </a:lnTo>
                  <a:lnTo>
                    <a:pt x="592" y="169"/>
                  </a:lnTo>
                  <a:lnTo>
                    <a:pt x="589" y="157"/>
                  </a:lnTo>
                  <a:lnTo>
                    <a:pt x="586" y="146"/>
                  </a:lnTo>
                  <a:lnTo>
                    <a:pt x="582" y="136"/>
                  </a:lnTo>
                  <a:lnTo>
                    <a:pt x="578" y="125"/>
                  </a:lnTo>
                  <a:lnTo>
                    <a:pt x="573" y="116"/>
                  </a:lnTo>
                  <a:lnTo>
                    <a:pt x="568" y="106"/>
                  </a:lnTo>
                  <a:lnTo>
                    <a:pt x="562" y="97"/>
                  </a:lnTo>
                  <a:lnTo>
                    <a:pt x="556" y="88"/>
                  </a:lnTo>
                  <a:lnTo>
                    <a:pt x="550" y="80"/>
                  </a:lnTo>
                  <a:lnTo>
                    <a:pt x="543" y="72"/>
                  </a:lnTo>
                  <a:lnTo>
                    <a:pt x="536" y="64"/>
                  </a:lnTo>
                  <a:lnTo>
                    <a:pt x="528" y="57"/>
                  </a:lnTo>
                  <a:lnTo>
                    <a:pt x="519" y="50"/>
                  </a:lnTo>
                  <a:lnTo>
                    <a:pt x="510" y="44"/>
                  </a:lnTo>
                  <a:lnTo>
                    <a:pt x="502" y="38"/>
                  </a:lnTo>
                  <a:lnTo>
                    <a:pt x="492" y="33"/>
                  </a:lnTo>
                  <a:lnTo>
                    <a:pt x="473" y="23"/>
                  </a:lnTo>
                  <a:lnTo>
                    <a:pt x="453" y="15"/>
                  </a:lnTo>
                  <a:lnTo>
                    <a:pt x="431" y="8"/>
                  </a:lnTo>
                  <a:lnTo>
                    <a:pt x="409" y="4"/>
                  </a:lnTo>
                  <a:lnTo>
                    <a:pt x="386" y="1"/>
                  </a:lnTo>
                  <a:lnTo>
                    <a:pt x="362" y="0"/>
                  </a:lnTo>
                  <a:lnTo>
                    <a:pt x="338" y="1"/>
                  </a:lnTo>
                  <a:lnTo>
                    <a:pt x="314" y="3"/>
                  </a:lnTo>
                  <a:lnTo>
                    <a:pt x="292" y="6"/>
                  </a:lnTo>
                  <a:lnTo>
                    <a:pt x="271" y="11"/>
                  </a:lnTo>
                  <a:lnTo>
                    <a:pt x="250" y="18"/>
                  </a:lnTo>
                  <a:lnTo>
                    <a:pt x="229" y="25"/>
                  </a:lnTo>
                  <a:lnTo>
                    <a:pt x="211" y="34"/>
                  </a:lnTo>
                  <a:lnTo>
                    <a:pt x="193" y="44"/>
                  </a:lnTo>
                  <a:lnTo>
                    <a:pt x="176" y="55"/>
                  </a:lnTo>
                  <a:lnTo>
                    <a:pt x="160" y="66"/>
                  </a:lnTo>
                  <a:lnTo>
                    <a:pt x="145" y="79"/>
                  </a:lnTo>
                  <a:lnTo>
                    <a:pt x="130" y="93"/>
                  </a:lnTo>
                  <a:lnTo>
                    <a:pt x="117" y="108"/>
                  </a:lnTo>
                  <a:lnTo>
                    <a:pt x="104" y="123"/>
                  </a:lnTo>
                  <a:lnTo>
                    <a:pt x="92" y="140"/>
                  </a:lnTo>
                  <a:lnTo>
                    <a:pt x="81" y="157"/>
                  </a:lnTo>
                  <a:lnTo>
                    <a:pt x="71" y="175"/>
                  </a:lnTo>
                  <a:lnTo>
                    <a:pt x="61" y="193"/>
                  </a:lnTo>
                  <a:lnTo>
                    <a:pt x="52" y="212"/>
                  </a:lnTo>
                  <a:lnTo>
                    <a:pt x="44" y="232"/>
                  </a:lnTo>
                  <a:lnTo>
                    <a:pt x="37" y="251"/>
                  </a:lnTo>
                  <a:lnTo>
                    <a:pt x="30" y="272"/>
                  </a:lnTo>
                  <a:lnTo>
                    <a:pt x="24" y="292"/>
                  </a:lnTo>
                  <a:lnTo>
                    <a:pt x="19" y="313"/>
                  </a:lnTo>
                  <a:lnTo>
                    <a:pt x="14" y="334"/>
                  </a:lnTo>
                  <a:lnTo>
                    <a:pt x="10" y="355"/>
                  </a:lnTo>
                  <a:lnTo>
                    <a:pt x="7" y="376"/>
                  </a:lnTo>
                  <a:lnTo>
                    <a:pt x="4" y="398"/>
                  </a:lnTo>
                  <a:lnTo>
                    <a:pt x="2" y="419"/>
                  </a:lnTo>
                  <a:lnTo>
                    <a:pt x="1" y="442"/>
                  </a:lnTo>
                  <a:lnTo>
                    <a:pt x="0" y="463"/>
                  </a:lnTo>
                  <a:lnTo>
                    <a:pt x="0" y="484"/>
                  </a:lnTo>
                  <a:lnTo>
                    <a:pt x="0" y="504"/>
                  </a:lnTo>
                  <a:lnTo>
                    <a:pt x="1" y="523"/>
                  </a:lnTo>
                  <a:lnTo>
                    <a:pt x="2" y="542"/>
                  </a:lnTo>
                  <a:lnTo>
                    <a:pt x="5" y="560"/>
                  </a:lnTo>
                  <a:lnTo>
                    <a:pt x="7" y="578"/>
                  </a:lnTo>
                  <a:lnTo>
                    <a:pt x="11" y="594"/>
                  </a:lnTo>
                  <a:lnTo>
                    <a:pt x="15" y="610"/>
                  </a:lnTo>
                  <a:lnTo>
                    <a:pt x="19" y="626"/>
                  </a:lnTo>
                  <a:lnTo>
                    <a:pt x="24" y="641"/>
                  </a:lnTo>
                  <a:lnTo>
                    <a:pt x="30" y="655"/>
                  </a:lnTo>
                  <a:lnTo>
                    <a:pt x="37" y="668"/>
                  </a:lnTo>
                  <a:lnTo>
                    <a:pt x="44" y="681"/>
                  </a:lnTo>
                  <a:lnTo>
                    <a:pt x="51" y="693"/>
                  </a:lnTo>
                  <a:lnTo>
                    <a:pt x="60" y="705"/>
                  </a:lnTo>
                  <a:lnTo>
                    <a:pt x="68" y="716"/>
                  </a:lnTo>
                  <a:lnTo>
                    <a:pt x="78" y="727"/>
                  </a:lnTo>
                  <a:lnTo>
                    <a:pt x="88" y="737"/>
                  </a:lnTo>
                  <a:lnTo>
                    <a:pt x="99" y="746"/>
                  </a:lnTo>
                  <a:lnTo>
                    <a:pt x="110" y="754"/>
                  </a:lnTo>
                  <a:lnTo>
                    <a:pt x="122" y="762"/>
                  </a:lnTo>
                  <a:lnTo>
                    <a:pt x="135" y="769"/>
                  </a:lnTo>
                  <a:lnTo>
                    <a:pt x="148" y="776"/>
                  </a:lnTo>
                  <a:lnTo>
                    <a:pt x="161" y="782"/>
                  </a:lnTo>
                  <a:lnTo>
                    <a:pt x="176" y="787"/>
                  </a:lnTo>
                  <a:lnTo>
                    <a:pt x="191" y="791"/>
                  </a:lnTo>
                  <a:lnTo>
                    <a:pt x="206" y="795"/>
                  </a:lnTo>
                  <a:lnTo>
                    <a:pt x="223" y="799"/>
                  </a:lnTo>
                  <a:lnTo>
                    <a:pt x="240" y="802"/>
                  </a:lnTo>
                  <a:lnTo>
                    <a:pt x="258" y="804"/>
                  </a:lnTo>
                  <a:lnTo>
                    <a:pt x="276" y="805"/>
                  </a:lnTo>
                  <a:lnTo>
                    <a:pt x="295" y="806"/>
                  </a:lnTo>
                  <a:lnTo>
                    <a:pt x="314" y="806"/>
                  </a:lnTo>
                  <a:lnTo>
                    <a:pt x="335" y="806"/>
                  </a:lnTo>
                  <a:lnTo>
                    <a:pt x="356" y="805"/>
                  </a:lnTo>
                  <a:lnTo>
                    <a:pt x="377" y="803"/>
                  </a:lnTo>
                  <a:lnTo>
                    <a:pt x="398" y="800"/>
                  </a:lnTo>
                  <a:lnTo>
                    <a:pt x="420" y="797"/>
                  </a:lnTo>
                  <a:lnTo>
                    <a:pt x="441" y="793"/>
                  </a:lnTo>
                  <a:lnTo>
                    <a:pt x="462" y="788"/>
                  </a:lnTo>
                  <a:lnTo>
                    <a:pt x="483" y="782"/>
                  </a:lnTo>
                  <a:lnTo>
                    <a:pt x="499" y="693"/>
                  </a:lnTo>
                  <a:lnTo>
                    <a:pt x="469" y="699"/>
                  </a:lnTo>
                  <a:lnTo>
                    <a:pt x="439" y="704"/>
                  </a:lnTo>
                  <a:lnTo>
                    <a:pt x="424" y="706"/>
                  </a:lnTo>
                  <a:lnTo>
                    <a:pt x="408" y="708"/>
                  </a:lnTo>
                  <a:lnTo>
                    <a:pt x="393" y="709"/>
                  </a:lnTo>
                  <a:lnTo>
                    <a:pt x="378" y="709"/>
                  </a:lnTo>
                  <a:lnTo>
                    <a:pt x="362" y="709"/>
                  </a:lnTo>
                  <a:lnTo>
                    <a:pt x="346" y="708"/>
                  </a:lnTo>
                  <a:lnTo>
                    <a:pt x="331" y="707"/>
                  </a:lnTo>
                  <a:lnTo>
                    <a:pt x="316" y="705"/>
                  </a:lnTo>
                  <a:lnTo>
                    <a:pt x="302" y="703"/>
                  </a:lnTo>
                  <a:lnTo>
                    <a:pt x="289" y="701"/>
                  </a:lnTo>
                  <a:lnTo>
                    <a:pt x="276" y="697"/>
                  </a:lnTo>
                  <a:lnTo>
                    <a:pt x="264" y="694"/>
                  </a:lnTo>
                  <a:lnTo>
                    <a:pt x="252" y="690"/>
                  </a:lnTo>
                  <a:lnTo>
                    <a:pt x="239" y="685"/>
                  </a:lnTo>
                  <a:lnTo>
                    <a:pt x="228" y="680"/>
                  </a:lnTo>
                  <a:lnTo>
                    <a:pt x="218" y="674"/>
                  </a:lnTo>
                  <a:lnTo>
                    <a:pt x="208" y="668"/>
                  </a:lnTo>
                  <a:lnTo>
                    <a:pt x="199" y="662"/>
                  </a:lnTo>
                  <a:lnTo>
                    <a:pt x="191" y="654"/>
                  </a:lnTo>
                  <a:lnTo>
                    <a:pt x="182" y="647"/>
                  </a:lnTo>
                  <a:lnTo>
                    <a:pt x="175" y="639"/>
                  </a:lnTo>
                  <a:lnTo>
                    <a:pt x="168" y="630"/>
                  </a:lnTo>
                  <a:lnTo>
                    <a:pt x="161" y="621"/>
                  </a:lnTo>
                  <a:lnTo>
                    <a:pt x="155" y="611"/>
                  </a:lnTo>
                  <a:lnTo>
                    <a:pt x="149" y="601"/>
                  </a:lnTo>
                  <a:lnTo>
                    <a:pt x="144" y="590"/>
                  </a:lnTo>
                  <a:lnTo>
                    <a:pt x="140" y="579"/>
                  </a:lnTo>
                  <a:lnTo>
                    <a:pt x="135" y="567"/>
                  </a:lnTo>
                  <a:lnTo>
                    <a:pt x="132" y="554"/>
                  </a:lnTo>
                  <a:lnTo>
                    <a:pt x="129" y="541"/>
                  </a:lnTo>
                  <a:lnTo>
                    <a:pt x="126" y="528"/>
                  </a:lnTo>
                  <a:lnTo>
                    <a:pt x="124" y="514"/>
                  </a:lnTo>
                  <a:lnTo>
                    <a:pt x="122" y="499"/>
                  </a:lnTo>
                  <a:lnTo>
                    <a:pt x="121" y="484"/>
                  </a:lnTo>
                  <a:lnTo>
                    <a:pt x="120" y="468"/>
                  </a:lnTo>
                  <a:lnTo>
                    <a:pt x="120" y="452"/>
                  </a:lnTo>
                  <a:lnTo>
                    <a:pt x="120" y="436"/>
                  </a:lnTo>
                  <a:lnTo>
                    <a:pt x="122" y="421"/>
                  </a:lnTo>
                  <a:lnTo>
                    <a:pt x="123" y="406"/>
                  </a:lnTo>
                  <a:lnTo>
                    <a:pt x="125" y="391"/>
                  </a:lnTo>
                  <a:lnTo>
                    <a:pt x="130" y="361"/>
                  </a:lnTo>
                  <a:lnTo>
                    <a:pt x="136" y="330"/>
                  </a:lnTo>
                  <a:lnTo>
                    <a:pt x="580" y="330"/>
                  </a:lnTo>
                  <a:lnTo>
                    <a:pt x="585" y="318"/>
                  </a:lnTo>
                  <a:lnTo>
                    <a:pt x="590" y="305"/>
                  </a:lnTo>
                  <a:lnTo>
                    <a:pt x="592" y="291"/>
                  </a:lnTo>
                  <a:lnTo>
                    <a:pt x="594" y="277"/>
                  </a:lnTo>
                  <a:lnTo>
                    <a:pt x="596" y="248"/>
                  </a:lnTo>
                  <a:lnTo>
                    <a:pt x="596" y="21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  <a:cs typeface="+mn-cs"/>
              </a:endParaRPr>
            </a:p>
          </p:txBody>
        </p:sp>
        <p:sp>
          <p:nvSpPr>
            <p:cNvPr id="35" name="Freeform 32"/>
            <p:cNvSpPr>
              <a:spLocks/>
            </p:cNvSpPr>
            <p:nvPr/>
          </p:nvSpPr>
          <p:spPr bwMode="gray">
            <a:xfrm>
              <a:off x="3151188" y="3679825"/>
              <a:ext cx="73025" cy="241300"/>
            </a:xfrm>
            <a:custGeom>
              <a:avLst/>
              <a:gdLst/>
              <a:ahLst/>
              <a:cxnLst>
                <a:cxn ang="0">
                  <a:pos x="112" y="1121"/>
                </a:cxn>
                <a:cxn ang="0">
                  <a:pos x="0" y="1121"/>
                </a:cxn>
                <a:cxn ang="0">
                  <a:pos x="218" y="0"/>
                </a:cxn>
                <a:cxn ang="0">
                  <a:pos x="330" y="0"/>
                </a:cxn>
                <a:cxn ang="0">
                  <a:pos x="112" y="1121"/>
                </a:cxn>
              </a:cxnLst>
              <a:rect l="0" t="0" r="r" b="b"/>
              <a:pathLst>
                <a:path w="330" h="1121">
                  <a:moveTo>
                    <a:pt x="112" y="1121"/>
                  </a:moveTo>
                  <a:lnTo>
                    <a:pt x="0" y="1121"/>
                  </a:lnTo>
                  <a:lnTo>
                    <a:pt x="218" y="0"/>
                  </a:lnTo>
                  <a:lnTo>
                    <a:pt x="330" y="0"/>
                  </a:lnTo>
                  <a:lnTo>
                    <a:pt x="112" y="112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  <a:cs typeface="+mn-cs"/>
              </a:endParaRPr>
            </a:p>
          </p:txBody>
        </p:sp>
        <p:sp>
          <p:nvSpPr>
            <p:cNvPr id="36" name="Freeform 33"/>
            <p:cNvSpPr>
              <a:spLocks noEditPoints="1"/>
            </p:cNvSpPr>
            <p:nvPr/>
          </p:nvSpPr>
          <p:spPr bwMode="gray">
            <a:xfrm>
              <a:off x="3217863" y="3679825"/>
              <a:ext cx="73025" cy="241300"/>
            </a:xfrm>
            <a:custGeom>
              <a:avLst/>
              <a:gdLst/>
              <a:ahLst/>
              <a:cxnLst>
                <a:cxn ang="0">
                  <a:pos x="314" y="145"/>
                </a:cxn>
                <a:cxn ang="0">
                  <a:pos x="170" y="145"/>
                </a:cxn>
                <a:cxn ang="0">
                  <a:pos x="194" y="0"/>
                </a:cxn>
                <a:cxn ang="0">
                  <a:pos x="338" y="0"/>
                </a:cxn>
                <a:cxn ang="0">
                  <a:pos x="314" y="145"/>
                </a:cxn>
                <a:cxn ang="0">
                  <a:pos x="112" y="1121"/>
                </a:cxn>
                <a:cxn ang="0">
                  <a:pos x="0" y="1121"/>
                </a:cxn>
                <a:cxn ang="0">
                  <a:pos x="146" y="347"/>
                </a:cxn>
                <a:cxn ang="0">
                  <a:pos x="258" y="347"/>
                </a:cxn>
                <a:cxn ang="0">
                  <a:pos x="112" y="1121"/>
                </a:cxn>
              </a:cxnLst>
              <a:rect l="0" t="0" r="r" b="b"/>
              <a:pathLst>
                <a:path w="338" h="1121">
                  <a:moveTo>
                    <a:pt x="314" y="145"/>
                  </a:moveTo>
                  <a:lnTo>
                    <a:pt x="170" y="145"/>
                  </a:lnTo>
                  <a:lnTo>
                    <a:pt x="194" y="0"/>
                  </a:lnTo>
                  <a:lnTo>
                    <a:pt x="338" y="0"/>
                  </a:lnTo>
                  <a:lnTo>
                    <a:pt x="314" y="145"/>
                  </a:lnTo>
                  <a:close/>
                  <a:moveTo>
                    <a:pt x="112" y="1121"/>
                  </a:moveTo>
                  <a:lnTo>
                    <a:pt x="0" y="1121"/>
                  </a:lnTo>
                  <a:lnTo>
                    <a:pt x="146" y="347"/>
                  </a:lnTo>
                  <a:lnTo>
                    <a:pt x="258" y="347"/>
                  </a:lnTo>
                  <a:lnTo>
                    <a:pt x="112" y="112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  <a:cs typeface="+mn-cs"/>
              </a:endParaRPr>
            </a:p>
          </p:txBody>
        </p:sp>
        <p:sp>
          <p:nvSpPr>
            <p:cNvPr id="37" name="Freeform 34"/>
            <p:cNvSpPr>
              <a:spLocks/>
            </p:cNvSpPr>
            <p:nvPr/>
          </p:nvSpPr>
          <p:spPr bwMode="gray">
            <a:xfrm>
              <a:off x="3290888" y="3756025"/>
              <a:ext cx="144462" cy="165100"/>
            </a:xfrm>
            <a:custGeom>
              <a:avLst/>
              <a:gdLst/>
              <a:ahLst/>
              <a:cxnLst>
                <a:cxn ang="0">
                  <a:pos x="259" y="774"/>
                </a:cxn>
                <a:cxn ang="0">
                  <a:pos x="146" y="774"/>
                </a:cxn>
                <a:cxn ang="0">
                  <a:pos x="0" y="0"/>
                </a:cxn>
                <a:cxn ang="0">
                  <a:pos x="122" y="0"/>
                </a:cxn>
                <a:cxn ang="0">
                  <a:pos x="226" y="613"/>
                </a:cxn>
                <a:cxn ang="0">
                  <a:pos x="549" y="0"/>
                </a:cxn>
                <a:cxn ang="0">
                  <a:pos x="670" y="0"/>
                </a:cxn>
                <a:cxn ang="0">
                  <a:pos x="259" y="774"/>
                </a:cxn>
              </a:cxnLst>
              <a:rect l="0" t="0" r="r" b="b"/>
              <a:pathLst>
                <a:path w="670" h="774">
                  <a:moveTo>
                    <a:pt x="259" y="774"/>
                  </a:moveTo>
                  <a:lnTo>
                    <a:pt x="146" y="774"/>
                  </a:lnTo>
                  <a:lnTo>
                    <a:pt x="0" y="0"/>
                  </a:lnTo>
                  <a:lnTo>
                    <a:pt x="122" y="0"/>
                  </a:lnTo>
                  <a:lnTo>
                    <a:pt x="226" y="613"/>
                  </a:lnTo>
                  <a:lnTo>
                    <a:pt x="549" y="0"/>
                  </a:lnTo>
                  <a:lnTo>
                    <a:pt x="670" y="0"/>
                  </a:lnTo>
                  <a:lnTo>
                    <a:pt x="259" y="77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  <a:cs typeface="+mn-cs"/>
              </a:endParaRPr>
            </a:p>
          </p:txBody>
        </p:sp>
        <p:sp>
          <p:nvSpPr>
            <p:cNvPr id="38" name="Freeform 35"/>
            <p:cNvSpPr>
              <a:spLocks noEditPoints="1"/>
            </p:cNvSpPr>
            <p:nvPr/>
          </p:nvSpPr>
          <p:spPr bwMode="gray">
            <a:xfrm>
              <a:off x="3422650" y="3751263"/>
              <a:ext cx="131763" cy="173037"/>
            </a:xfrm>
            <a:custGeom>
              <a:avLst/>
              <a:gdLst/>
              <a:ahLst/>
              <a:cxnLst>
                <a:cxn ang="0">
                  <a:pos x="487" y="229"/>
                </a:cxn>
                <a:cxn ang="0">
                  <a:pos x="161" y="242"/>
                </a:cxn>
                <a:cxn ang="0">
                  <a:pos x="185" y="195"/>
                </a:cxn>
                <a:cxn ang="0">
                  <a:pos x="214" y="154"/>
                </a:cxn>
                <a:cxn ang="0">
                  <a:pos x="248" y="122"/>
                </a:cxn>
                <a:cxn ang="0">
                  <a:pos x="290" y="100"/>
                </a:cxn>
                <a:cxn ang="0">
                  <a:pos x="337" y="89"/>
                </a:cxn>
                <a:cxn ang="0">
                  <a:pos x="384" y="90"/>
                </a:cxn>
                <a:cxn ang="0">
                  <a:pos x="422" y="102"/>
                </a:cxn>
                <a:cxn ang="0">
                  <a:pos x="453" y="121"/>
                </a:cxn>
                <a:cxn ang="0">
                  <a:pos x="476" y="149"/>
                </a:cxn>
                <a:cxn ang="0">
                  <a:pos x="489" y="184"/>
                </a:cxn>
                <a:cxn ang="0">
                  <a:pos x="605" y="218"/>
                </a:cxn>
                <a:cxn ang="0">
                  <a:pos x="602" y="181"/>
                </a:cxn>
                <a:cxn ang="0">
                  <a:pos x="594" y="146"/>
                </a:cxn>
                <a:cxn ang="0">
                  <a:pos x="580" y="116"/>
                </a:cxn>
                <a:cxn ang="0">
                  <a:pos x="562" y="88"/>
                </a:cxn>
                <a:cxn ang="0">
                  <a:pos x="540" y="64"/>
                </a:cxn>
                <a:cxn ang="0">
                  <a:pos x="514" y="44"/>
                </a:cxn>
                <a:cxn ang="0">
                  <a:pos x="476" y="23"/>
                </a:cxn>
                <a:cxn ang="0">
                  <a:pos x="410" y="4"/>
                </a:cxn>
                <a:cxn ang="0">
                  <a:pos x="339" y="1"/>
                </a:cxn>
                <a:cxn ang="0">
                  <a:pos x="272" y="11"/>
                </a:cxn>
                <a:cxn ang="0">
                  <a:pos x="214" y="34"/>
                </a:cxn>
                <a:cxn ang="0">
                  <a:pos x="164" y="66"/>
                </a:cxn>
                <a:cxn ang="0">
                  <a:pos x="121" y="108"/>
                </a:cxn>
                <a:cxn ang="0">
                  <a:pos x="85" y="157"/>
                </a:cxn>
                <a:cxn ang="0">
                  <a:pos x="55" y="212"/>
                </a:cxn>
                <a:cxn ang="0">
                  <a:pos x="32" y="272"/>
                </a:cxn>
                <a:cxn ang="0">
                  <a:pos x="16" y="334"/>
                </a:cxn>
                <a:cxn ang="0">
                  <a:pos x="5" y="398"/>
                </a:cxn>
                <a:cxn ang="0">
                  <a:pos x="0" y="463"/>
                </a:cxn>
                <a:cxn ang="0">
                  <a:pos x="1" y="523"/>
                </a:cxn>
                <a:cxn ang="0">
                  <a:pos x="8" y="578"/>
                </a:cxn>
                <a:cxn ang="0">
                  <a:pos x="20" y="626"/>
                </a:cxn>
                <a:cxn ang="0">
                  <a:pos x="38" y="668"/>
                </a:cxn>
                <a:cxn ang="0">
                  <a:pos x="61" y="705"/>
                </a:cxn>
                <a:cxn ang="0">
                  <a:pos x="90" y="737"/>
                </a:cxn>
                <a:cxn ang="0">
                  <a:pos x="125" y="762"/>
                </a:cxn>
                <a:cxn ang="0">
                  <a:pos x="165" y="782"/>
                </a:cxn>
                <a:cxn ang="0">
                  <a:pos x="211" y="795"/>
                </a:cxn>
                <a:cxn ang="0">
                  <a:pos x="264" y="804"/>
                </a:cxn>
                <a:cxn ang="0">
                  <a:pos x="323" y="806"/>
                </a:cxn>
                <a:cxn ang="0">
                  <a:pos x="385" y="803"/>
                </a:cxn>
                <a:cxn ang="0">
                  <a:pos x="446" y="793"/>
                </a:cxn>
                <a:cxn ang="0">
                  <a:pos x="499" y="693"/>
                </a:cxn>
                <a:cxn ang="0">
                  <a:pos x="424" y="706"/>
                </a:cxn>
                <a:cxn ang="0">
                  <a:pos x="379" y="709"/>
                </a:cxn>
                <a:cxn ang="0">
                  <a:pos x="332" y="707"/>
                </a:cxn>
                <a:cxn ang="0">
                  <a:pos x="290" y="701"/>
                </a:cxn>
                <a:cxn ang="0">
                  <a:pos x="253" y="690"/>
                </a:cxn>
                <a:cxn ang="0">
                  <a:pos x="221" y="674"/>
                </a:cxn>
                <a:cxn ang="0">
                  <a:pos x="195" y="654"/>
                </a:cxn>
                <a:cxn ang="0">
                  <a:pos x="173" y="630"/>
                </a:cxn>
                <a:cxn ang="0">
                  <a:pos x="156" y="601"/>
                </a:cxn>
                <a:cxn ang="0">
                  <a:pos x="143" y="567"/>
                </a:cxn>
                <a:cxn ang="0">
                  <a:pos x="134" y="528"/>
                </a:cxn>
                <a:cxn ang="0">
                  <a:pos x="129" y="452"/>
                </a:cxn>
                <a:cxn ang="0">
                  <a:pos x="132" y="406"/>
                </a:cxn>
                <a:cxn ang="0">
                  <a:pos x="145" y="330"/>
                </a:cxn>
                <a:cxn ang="0">
                  <a:pos x="600" y="277"/>
                </a:cxn>
                <a:cxn ang="0">
                  <a:pos x="605" y="233"/>
                </a:cxn>
              </a:cxnLst>
              <a:rect l="0" t="0" r="r" b="b"/>
              <a:pathLst>
                <a:path w="605" h="806">
                  <a:moveTo>
                    <a:pt x="491" y="210"/>
                  </a:moveTo>
                  <a:lnTo>
                    <a:pt x="490" y="221"/>
                  </a:lnTo>
                  <a:lnTo>
                    <a:pt x="487" y="229"/>
                  </a:lnTo>
                  <a:lnTo>
                    <a:pt x="485" y="236"/>
                  </a:lnTo>
                  <a:lnTo>
                    <a:pt x="483" y="242"/>
                  </a:lnTo>
                  <a:lnTo>
                    <a:pt x="161" y="242"/>
                  </a:lnTo>
                  <a:lnTo>
                    <a:pt x="169" y="226"/>
                  </a:lnTo>
                  <a:lnTo>
                    <a:pt x="177" y="210"/>
                  </a:lnTo>
                  <a:lnTo>
                    <a:pt x="185" y="195"/>
                  </a:lnTo>
                  <a:lnTo>
                    <a:pt x="194" y="181"/>
                  </a:lnTo>
                  <a:lnTo>
                    <a:pt x="204" y="167"/>
                  </a:lnTo>
                  <a:lnTo>
                    <a:pt x="214" y="154"/>
                  </a:lnTo>
                  <a:lnTo>
                    <a:pt x="225" y="142"/>
                  </a:lnTo>
                  <a:lnTo>
                    <a:pt x="236" y="131"/>
                  </a:lnTo>
                  <a:lnTo>
                    <a:pt x="248" y="122"/>
                  </a:lnTo>
                  <a:lnTo>
                    <a:pt x="261" y="113"/>
                  </a:lnTo>
                  <a:lnTo>
                    <a:pt x="274" y="106"/>
                  </a:lnTo>
                  <a:lnTo>
                    <a:pt x="290" y="100"/>
                  </a:lnTo>
                  <a:lnTo>
                    <a:pt x="305" y="95"/>
                  </a:lnTo>
                  <a:lnTo>
                    <a:pt x="320" y="91"/>
                  </a:lnTo>
                  <a:lnTo>
                    <a:pt x="337" y="89"/>
                  </a:lnTo>
                  <a:lnTo>
                    <a:pt x="355" y="88"/>
                  </a:lnTo>
                  <a:lnTo>
                    <a:pt x="370" y="89"/>
                  </a:lnTo>
                  <a:lnTo>
                    <a:pt x="384" y="90"/>
                  </a:lnTo>
                  <a:lnTo>
                    <a:pt x="397" y="93"/>
                  </a:lnTo>
                  <a:lnTo>
                    <a:pt x="410" y="97"/>
                  </a:lnTo>
                  <a:lnTo>
                    <a:pt x="422" y="102"/>
                  </a:lnTo>
                  <a:lnTo>
                    <a:pt x="433" y="107"/>
                  </a:lnTo>
                  <a:lnTo>
                    <a:pt x="444" y="114"/>
                  </a:lnTo>
                  <a:lnTo>
                    <a:pt x="453" y="121"/>
                  </a:lnTo>
                  <a:lnTo>
                    <a:pt x="462" y="130"/>
                  </a:lnTo>
                  <a:lnTo>
                    <a:pt x="469" y="139"/>
                  </a:lnTo>
                  <a:lnTo>
                    <a:pt x="476" y="149"/>
                  </a:lnTo>
                  <a:lnTo>
                    <a:pt x="481" y="159"/>
                  </a:lnTo>
                  <a:lnTo>
                    <a:pt x="486" y="172"/>
                  </a:lnTo>
                  <a:lnTo>
                    <a:pt x="489" y="184"/>
                  </a:lnTo>
                  <a:lnTo>
                    <a:pt x="491" y="197"/>
                  </a:lnTo>
                  <a:lnTo>
                    <a:pt x="491" y="210"/>
                  </a:lnTo>
                  <a:close/>
                  <a:moveTo>
                    <a:pt x="605" y="218"/>
                  </a:moveTo>
                  <a:lnTo>
                    <a:pt x="605" y="205"/>
                  </a:lnTo>
                  <a:lnTo>
                    <a:pt x="604" y="193"/>
                  </a:lnTo>
                  <a:lnTo>
                    <a:pt x="602" y="181"/>
                  </a:lnTo>
                  <a:lnTo>
                    <a:pt x="600" y="169"/>
                  </a:lnTo>
                  <a:lnTo>
                    <a:pt x="597" y="157"/>
                  </a:lnTo>
                  <a:lnTo>
                    <a:pt x="594" y="146"/>
                  </a:lnTo>
                  <a:lnTo>
                    <a:pt x="590" y="136"/>
                  </a:lnTo>
                  <a:lnTo>
                    <a:pt x="585" y="125"/>
                  </a:lnTo>
                  <a:lnTo>
                    <a:pt x="580" y="116"/>
                  </a:lnTo>
                  <a:lnTo>
                    <a:pt x="575" y="106"/>
                  </a:lnTo>
                  <a:lnTo>
                    <a:pt x="569" y="97"/>
                  </a:lnTo>
                  <a:lnTo>
                    <a:pt x="562" y="88"/>
                  </a:lnTo>
                  <a:lnTo>
                    <a:pt x="556" y="80"/>
                  </a:lnTo>
                  <a:lnTo>
                    <a:pt x="547" y="72"/>
                  </a:lnTo>
                  <a:lnTo>
                    <a:pt x="540" y="64"/>
                  </a:lnTo>
                  <a:lnTo>
                    <a:pt x="532" y="57"/>
                  </a:lnTo>
                  <a:lnTo>
                    <a:pt x="523" y="50"/>
                  </a:lnTo>
                  <a:lnTo>
                    <a:pt x="514" y="44"/>
                  </a:lnTo>
                  <a:lnTo>
                    <a:pt x="505" y="38"/>
                  </a:lnTo>
                  <a:lnTo>
                    <a:pt x="496" y="33"/>
                  </a:lnTo>
                  <a:lnTo>
                    <a:pt x="476" y="23"/>
                  </a:lnTo>
                  <a:lnTo>
                    <a:pt x="455" y="15"/>
                  </a:lnTo>
                  <a:lnTo>
                    <a:pt x="433" y="8"/>
                  </a:lnTo>
                  <a:lnTo>
                    <a:pt x="410" y="4"/>
                  </a:lnTo>
                  <a:lnTo>
                    <a:pt x="387" y="1"/>
                  </a:lnTo>
                  <a:lnTo>
                    <a:pt x="363" y="0"/>
                  </a:lnTo>
                  <a:lnTo>
                    <a:pt x="339" y="1"/>
                  </a:lnTo>
                  <a:lnTo>
                    <a:pt x="316" y="3"/>
                  </a:lnTo>
                  <a:lnTo>
                    <a:pt x="294" y="6"/>
                  </a:lnTo>
                  <a:lnTo>
                    <a:pt x="272" y="11"/>
                  </a:lnTo>
                  <a:lnTo>
                    <a:pt x="252" y="18"/>
                  </a:lnTo>
                  <a:lnTo>
                    <a:pt x="233" y="25"/>
                  </a:lnTo>
                  <a:lnTo>
                    <a:pt x="214" y="34"/>
                  </a:lnTo>
                  <a:lnTo>
                    <a:pt x="197" y="44"/>
                  </a:lnTo>
                  <a:lnTo>
                    <a:pt x="180" y="55"/>
                  </a:lnTo>
                  <a:lnTo>
                    <a:pt x="164" y="66"/>
                  </a:lnTo>
                  <a:lnTo>
                    <a:pt x="149" y="79"/>
                  </a:lnTo>
                  <a:lnTo>
                    <a:pt x="134" y="93"/>
                  </a:lnTo>
                  <a:lnTo>
                    <a:pt x="121" y="108"/>
                  </a:lnTo>
                  <a:lnTo>
                    <a:pt x="108" y="123"/>
                  </a:lnTo>
                  <a:lnTo>
                    <a:pt x="96" y="140"/>
                  </a:lnTo>
                  <a:lnTo>
                    <a:pt x="85" y="157"/>
                  </a:lnTo>
                  <a:lnTo>
                    <a:pt x="74" y="175"/>
                  </a:lnTo>
                  <a:lnTo>
                    <a:pt x="64" y="193"/>
                  </a:lnTo>
                  <a:lnTo>
                    <a:pt x="55" y="212"/>
                  </a:lnTo>
                  <a:lnTo>
                    <a:pt x="47" y="232"/>
                  </a:lnTo>
                  <a:lnTo>
                    <a:pt x="39" y="251"/>
                  </a:lnTo>
                  <a:lnTo>
                    <a:pt x="32" y="272"/>
                  </a:lnTo>
                  <a:lnTo>
                    <a:pt x="26" y="292"/>
                  </a:lnTo>
                  <a:lnTo>
                    <a:pt x="21" y="313"/>
                  </a:lnTo>
                  <a:lnTo>
                    <a:pt x="16" y="334"/>
                  </a:lnTo>
                  <a:lnTo>
                    <a:pt x="12" y="355"/>
                  </a:lnTo>
                  <a:lnTo>
                    <a:pt x="8" y="376"/>
                  </a:lnTo>
                  <a:lnTo>
                    <a:pt x="5" y="398"/>
                  </a:lnTo>
                  <a:lnTo>
                    <a:pt x="3" y="419"/>
                  </a:lnTo>
                  <a:lnTo>
                    <a:pt x="1" y="442"/>
                  </a:lnTo>
                  <a:lnTo>
                    <a:pt x="0" y="463"/>
                  </a:lnTo>
                  <a:lnTo>
                    <a:pt x="0" y="484"/>
                  </a:lnTo>
                  <a:lnTo>
                    <a:pt x="0" y="504"/>
                  </a:lnTo>
                  <a:lnTo>
                    <a:pt x="1" y="523"/>
                  </a:lnTo>
                  <a:lnTo>
                    <a:pt x="3" y="542"/>
                  </a:lnTo>
                  <a:lnTo>
                    <a:pt x="5" y="560"/>
                  </a:lnTo>
                  <a:lnTo>
                    <a:pt x="8" y="578"/>
                  </a:lnTo>
                  <a:lnTo>
                    <a:pt x="11" y="594"/>
                  </a:lnTo>
                  <a:lnTo>
                    <a:pt x="15" y="610"/>
                  </a:lnTo>
                  <a:lnTo>
                    <a:pt x="20" y="626"/>
                  </a:lnTo>
                  <a:lnTo>
                    <a:pt x="25" y="641"/>
                  </a:lnTo>
                  <a:lnTo>
                    <a:pt x="31" y="655"/>
                  </a:lnTo>
                  <a:lnTo>
                    <a:pt x="38" y="668"/>
                  </a:lnTo>
                  <a:lnTo>
                    <a:pt x="45" y="681"/>
                  </a:lnTo>
                  <a:lnTo>
                    <a:pt x="52" y="693"/>
                  </a:lnTo>
                  <a:lnTo>
                    <a:pt x="61" y="705"/>
                  </a:lnTo>
                  <a:lnTo>
                    <a:pt x="70" y="716"/>
                  </a:lnTo>
                  <a:lnTo>
                    <a:pt x="80" y="727"/>
                  </a:lnTo>
                  <a:lnTo>
                    <a:pt x="90" y="737"/>
                  </a:lnTo>
                  <a:lnTo>
                    <a:pt x="101" y="746"/>
                  </a:lnTo>
                  <a:lnTo>
                    <a:pt x="112" y="754"/>
                  </a:lnTo>
                  <a:lnTo>
                    <a:pt x="125" y="762"/>
                  </a:lnTo>
                  <a:lnTo>
                    <a:pt x="137" y="769"/>
                  </a:lnTo>
                  <a:lnTo>
                    <a:pt x="151" y="776"/>
                  </a:lnTo>
                  <a:lnTo>
                    <a:pt x="165" y="782"/>
                  </a:lnTo>
                  <a:lnTo>
                    <a:pt x="180" y="787"/>
                  </a:lnTo>
                  <a:lnTo>
                    <a:pt x="195" y="791"/>
                  </a:lnTo>
                  <a:lnTo>
                    <a:pt x="211" y="795"/>
                  </a:lnTo>
                  <a:lnTo>
                    <a:pt x="228" y="799"/>
                  </a:lnTo>
                  <a:lnTo>
                    <a:pt x="246" y="802"/>
                  </a:lnTo>
                  <a:lnTo>
                    <a:pt x="264" y="804"/>
                  </a:lnTo>
                  <a:lnTo>
                    <a:pt x="283" y="805"/>
                  </a:lnTo>
                  <a:lnTo>
                    <a:pt x="303" y="806"/>
                  </a:lnTo>
                  <a:lnTo>
                    <a:pt x="323" y="806"/>
                  </a:lnTo>
                  <a:lnTo>
                    <a:pt x="344" y="806"/>
                  </a:lnTo>
                  <a:lnTo>
                    <a:pt x="365" y="805"/>
                  </a:lnTo>
                  <a:lnTo>
                    <a:pt x="385" y="803"/>
                  </a:lnTo>
                  <a:lnTo>
                    <a:pt x="406" y="800"/>
                  </a:lnTo>
                  <a:lnTo>
                    <a:pt x="426" y="797"/>
                  </a:lnTo>
                  <a:lnTo>
                    <a:pt x="446" y="793"/>
                  </a:lnTo>
                  <a:lnTo>
                    <a:pt x="465" y="788"/>
                  </a:lnTo>
                  <a:lnTo>
                    <a:pt x="483" y="782"/>
                  </a:lnTo>
                  <a:lnTo>
                    <a:pt x="499" y="693"/>
                  </a:lnTo>
                  <a:lnTo>
                    <a:pt x="469" y="699"/>
                  </a:lnTo>
                  <a:lnTo>
                    <a:pt x="439" y="704"/>
                  </a:lnTo>
                  <a:lnTo>
                    <a:pt x="424" y="706"/>
                  </a:lnTo>
                  <a:lnTo>
                    <a:pt x="409" y="708"/>
                  </a:lnTo>
                  <a:lnTo>
                    <a:pt x="394" y="709"/>
                  </a:lnTo>
                  <a:lnTo>
                    <a:pt x="379" y="709"/>
                  </a:lnTo>
                  <a:lnTo>
                    <a:pt x="363" y="709"/>
                  </a:lnTo>
                  <a:lnTo>
                    <a:pt x="347" y="708"/>
                  </a:lnTo>
                  <a:lnTo>
                    <a:pt x="332" y="707"/>
                  </a:lnTo>
                  <a:lnTo>
                    <a:pt x="317" y="705"/>
                  </a:lnTo>
                  <a:lnTo>
                    <a:pt x="304" y="703"/>
                  </a:lnTo>
                  <a:lnTo>
                    <a:pt x="290" y="701"/>
                  </a:lnTo>
                  <a:lnTo>
                    <a:pt x="278" y="697"/>
                  </a:lnTo>
                  <a:lnTo>
                    <a:pt x="264" y="694"/>
                  </a:lnTo>
                  <a:lnTo>
                    <a:pt x="253" y="690"/>
                  </a:lnTo>
                  <a:lnTo>
                    <a:pt x="242" y="685"/>
                  </a:lnTo>
                  <a:lnTo>
                    <a:pt x="231" y="680"/>
                  </a:lnTo>
                  <a:lnTo>
                    <a:pt x="221" y="674"/>
                  </a:lnTo>
                  <a:lnTo>
                    <a:pt x="212" y="668"/>
                  </a:lnTo>
                  <a:lnTo>
                    <a:pt x="203" y="662"/>
                  </a:lnTo>
                  <a:lnTo>
                    <a:pt x="195" y="654"/>
                  </a:lnTo>
                  <a:lnTo>
                    <a:pt x="187" y="647"/>
                  </a:lnTo>
                  <a:lnTo>
                    <a:pt x="180" y="639"/>
                  </a:lnTo>
                  <a:lnTo>
                    <a:pt x="173" y="630"/>
                  </a:lnTo>
                  <a:lnTo>
                    <a:pt x="167" y="621"/>
                  </a:lnTo>
                  <a:lnTo>
                    <a:pt x="161" y="611"/>
                  </a:lnTo>
                  <a:lnTo>
                    <a:pt x="156" y="601"/>
                  </a:lnTo>
                  <a:lnTo>
                    <a:pt x="151" y="590"/>
                  </a:lnTo>
                  <a:lnTo>
                    <a:pt x="147" y="579"/>
                  </a:lnTo>
                  <a:lnTo>
                    <a:pt x="143" y="567"/>
                  </a:lnTo>
                  <a:lnTo>
                    <a:pt x="139" y="554"/>
                  </a:lnTo>
                  <a:lnTo>
                    <a:pt x="137" y="541"/>
                  </a:lnTo>
                  <a:lnTo>
                    <a:pt x="134" y="528"/>
                  </a:lnTo>
                  <a:lnTo>
                    <a:pt x="132" y="514"/>
                  </a:lnTo>
                  <a:lnTo>
                    <a:pt x="130" y="484"/>
                  </a:lnTo>
                  <a:lnTo>
                    <a:pt x="129" y="452"/>
                  </a:lnTo>
                  <a:lnTo>
                    <a:pt x="129" y="436"/>
                  </a:lnTo>
                  <a:lnTo>
                    <a:pt x="130" y="421"/>
                  </a:lnTo>
                  <a:lnTo>
                    <a:pt x="132" y="406"/>
                  </a:lnTo>
                  <a:lnTo>
                    <a:pt x="134" y="391"/>
                  </a:lnTo>
                  <a:lnTo>
                    <a:pt x="139" y="361"/>
                  </a:lnTo>
                  <a:lnTo>
                    <a:pt x="145" y="330"/>
                  </a:lnTo>
                  <a:lnTo>
                    <a:pt x="589" y="330"/>
                  </a:lnTo>
                  <a:lnTo>
                    <a:pt x="595" y="305"/>
                  </a:lnTo>
                  <a:lnTo>
                    <a:pt x="600" y="277"/>
                  </a:lnTo>
                  <a:lnTo>
                    <a:pt x="602" y="263"/>
                  </a:lnTo>
                  <a:lnTo>
                    <a:pt x="604" y="248"/>
                  </a:lnTo>
                  <a:lnTo>
                    <a:pt x="605" y="233"/>
                  </a:lnTo>
                  <a:lnTo>
                    <a:pt x="605" y="21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  <a:cs typeface="+mn-cs"/>
              </a:endParaRPr>
            </a:p>
          </p:txBody>
        </p:sp>
        <p:sp>
          <p:nvSpPr>
            <p:cNvPr id="39" name="Freeform 36"/>
            <p:cNvSpPr>
              <a:spLocks/>
            </p:cNvSpPr>
            <p:nvPr/>
          </p:nvSpPr>
          <p:spPr bwMode="gray">
            <a:xfrm>
              <a:off x="3563938" y="3751263"/>
              <a:ext cx="114300" cy="169862"/>
            </a:xfrm>
            <a:custGeom>
              <a:avLst/>
              <a:gdLst/>
              <a:ahLst/>
              <a:cxnLst>
                <a:cxn ang="0">
                  <a:pos x="500" y="120"/>
                </a:cxn>
                <a:cxn ang="0">
                  <a:pos x="480" y="121"/>
                </a:cxn>
                <a:cxn ang="0">
                  <a:pos x="459" y="123"/>
                </a:cxn>
                <a:cxn ang="0">
                  <a:pos x="440" y="125"/>
                </a:cxn>
                <a:cxn ang="0">
                  <a:pos x="422" y="129"/>
                </a:cxn>
                <a:cxn ang="0">
                  <a:pos x="405" y="134"/>
                </a:cxn>
                <a:cxn ang="0">
                  <a:pos x="389" y="139"/>
                </a:cxn>
                <a:cxn ang="0">
                  <a:pos x="373" y="146"/>
                </a:cxn>
                <a:cxn ang="0">
                  <a:pos x="359" y="153"/>
                </a:cxn>
                <a:cxn ang="0">
                  <a:pos x="345" y="163"/>
                </a:cxn>
                <a:cxn ang="0">
                  <a:pos x="331" y="172"/>
                </a:cxn>
                <a:cxn ang="0">
                  <a:pos x="319" y="182"/>
                </a:cxn>
                <a:cxn ang="0">
                  <a:pos x="307" y="192"/>
                </a:cxn>
                <a:cxn ang="0">
                  <a:pos x="295" y="203"/>
                </a:cxn>
                <a:cxn ang="0">
                  <a:pos x="285" y="215"/>
                </a:cxn>
                <a:cxn ang="0">
                  <a:pos x="275" y="228"/>
                </a:cxn>
                <a:cxn ang="0">
                  <a:pos x="265" y="241"/>
                </a:cxn>
                <a:cxn ang="0">
                  <a:pos x="256" y="255"/>
                </a:cxn>
                <a:cxn ang="0">
                  <a:pos x="248" y="269"/>
                </a:cxn>
                <a:cxn ang="0">
                  <a:pos x="240" y="283"/>
                </a:cxn>
                <a:cxn ang="0">
                  <a:pos x="232" y="298"/>
                </a:cxn>
                <a:cxn ang="0">
                  <a:pos x="219" y="330"/>
                </a:cxn>
                <a:cxn ang="0">
                  <a:pos x="207" y="362"/>
                </a:cxn>
                <a:cxn ang="0">
                  <a:pos x="196" y="396"/>
                </a:cxn>
                <a:cxn ang="0">
                  <a:pos x="186" y="430"/>
                </a:cxn>
                <a:cxn ang="0">
                  <a:pos x="177" y="465"/>
                </a:cxn>
                <a:cxn ang="0">
                  <a:pos x="169" y="500"/>
                </a:cxn>
                <a:cxn ang="0">
                  <a:pos x="121" y="790"/>
                </a:cxn>
                <a:cxn ang="0">
                  <a:pos x="0" y="790"/>
                </a:cxn>
                <a:cxn ang="0">
                  <a:pos x="153" y="16"/>
                </a:cxn>
                <a:cxn ang="0">
                  <a:pos x="266" y="16"/>
                </a:cxn>
                <a:cxn ang="0">
                  <a:pos x="234" y="170"/>
                </a:cxn>
                <a:cxn ang="0">
                  <a:pos x="242" y="170"/>
                </a:cxn>
                <a:cxn ang="0">
                  <a:pos x="253" y="147"/>
                </a:cxn>
                <a:cxn ang="0">
                  <a:pos x="265" y="127"/>
                </a:cxn>
                <a:cxn ang="0">
                  <a:pos x="278" y="108"/>
                </a:cxn>
                <a:cxn ang="0">
                  <a:pos x="292" y="91"/>
                </a:cxn>
                <a:cxn ang="0">
                  <a:pos x="306" y="76"/>
                </a:cxn>
                <a:cxn ang="0">
                  <a:pos x="322" y="62"/>
                </a:cxn>
                <a:cxn ang="0">
                  <a:pos x="338" y="50"/>
                </a:cxn>
                <a:cxn ang="0">
                  <a:pos x="356" y="39"/>
                </a:cxn>
                <a:cxn ang="0">
                  <a:pos x="374" y="30"/>
                </a:cxn>
                <a:cxn ang="0">
                  <a:pos x="393" y="22"/>
                </a:cxn>
                <a:cxn ang="0">
                  <a:pos x="413" y="15"/>
                </a:cxn>
                <a:cxn ang="0">
                  <a:pos x="433" y="9"/>
                </a:cxn>
                <a:cxn ang="0">
                  <a:pos x="455" y="5"/>
                </a:cxn>
                <a:cxn ang="0">
                  <a:pos x="478" y="2"/>
                </a:cxn>
                <a:cxn ang="0">
                  <a:pos x="501" y="0"/>
                </a:cxn>
                <a:cxn ang="0">
                  <a:pos x="524" y="0"/>
                </a:cxn>
                <a:cxn ang="0">
                  <a:pos x="500" y="120"/>
                </a:cxn>
              </a:cxnLst>
              <a:rect l="0" t="0" r="r" b="b"/>
              <a:pathLst>
                <a:path w="524" h="790">
                  <a:moveTo>
                    <a:pt x="500" y="120"/>
                  </a:moveTo>
                  <a:lnTo>
                    <a:pt x="480" y="121"/>
                  </a:lnTo>
                  <a:lnTo>
                    <a:pt x="459" y="123"/>
                  </a:lnTo>
                  <a:lnTo>
                    <a:pt x="440" y="125"/>
                  </a:lnTo>
                  <a:lnTo>
                    <a:pt x="422" y="129"/>
                  </a:lnTo>
                  <a:lnTo>
                    <a:pt x="405" y="134"/>
                  </a:lnTo>
                  <a:lnTo>
                    <a:pt x="389" y="139"/>
                  </a:lnTo>
                  <a:lnTo>
                    <a:pt x="373" y="146"/>
                  </a:lnTo>
                  <a:lnTo>
                    <a:pt x="359" y="153"/>
                  </a:lnTo>
                  <a:lnTo>
                    <a:pt x="345" y="163"/>
                  </a:lnTo>
                  <a:lnTo>
                    <a:pt x="331" y="172"/>
                  </a:lnTo>
                  <a:lnTo>
                    <a:pt x="319" y="182"/>
                  </a:lnTo>
                  <a:lnTo>
                    <a:pt x="307" y="192"/>
                  </a:lnTo>
                  <a:lnTo>
                    <a:pt x="295" y="203"/>
                  </a:lnTo>
                  <a:lnTo>
                    <a:pt x="285" y="215"/>
                  </a:lnTo>
                  <a:lnTo>
                    <a:pt x="275" y="228"/>
                  </a:lnTo>
                  <a:lnTo>
                    <a:pt x="265" y="241"/>
                  </a:lnTo>
                  <a:lnTo>
                    <a:pt x="256" y="255"/>
                  </a:lnTo>
                  <a:lnTo>
                    <a:pt x="248" y="269"/>
                  </a:lnTo>
                  <a:lnTo>
                    <a:pt x="240" y="283"/>
                  </a:lnTo>
                  <a:lnTo>
                    <a:pt x="232" y="298"/>
                  </a:lnTo>
                  <a:lnTo>
                    <a:pt x="219" y="330"/>
                  </a:lnTo>
                  <a:lnTo>
                    <a:pt x="207" y="362"/>
                  </a:lnTo>
                  <a:lnTo>
                    <a:pt x="196" y="396"/>
                  </a:lnTo>
                  <a:lnTo>
                    <a:pt x="186" y="430"/>
                  </a:lnTo>
                  <a:lnTo>
                    <a:pt x="177" y="465"/>
                  </a:lnTo>
                  <a:lnTo>
                    <a:pt x="169" y="500"/>
                  </a:lnTo>
                  <a:lnTo>
                    <a:pt x="121" y="790"/>
                  </a:lnTo>
                  <a:lnTo>
                    <a:pt x="0" y="790"/>
                  </a:lnTo>
                  <a:lnTo>
                    <a:pt x="153" y="16"/>
                  </a:lnTo>
                  <a:lnTo>
                    <a:pt x="266" y="16"/>
                  </a:lnTo>
                  <a:lnTo>
                    <a:pt x="234" y="170"/>
                  </a:lnTo>
                  <a:lnTo>
                    <a:pt x="242" y="170"/>
                  </a:lnTo>
                  <a:lnTo>
                    <a:pt x="253" y="147"/>
                  </a:lnTo>
                  <a:lnTo>
                    <a:pt x="265" y="127"/>
                  </a:lnTo>
                  <a:lnTo>
                    <a:pt x="278" y="108"/>
                  </a:lnTo>
                  <a:lnTo>
                    <a:pt x="292" y="91"/>
                  </a:lnTo>
                  <a:lnTo>
                    <a:pt x="306" y="76"/>
                  </a:lnTo>
                  <a:lnTo>
                    <a:pt x="322" y="62"/>
                  </a:lnTo>
                  <a:lnTo>
                    <a:pt x="338" y="50"/>
                  </a:lnTo>
                  <a:lnTo>
                    <a:pt x="356" y="39"/>
                  </a:lnTo>
                  <a:lnTo>
                    <a:pt x="374" y="30"/>
                  </a:lnTo>
                  <a:lnTo>
                    <a:pt x="393" y="22"/>
                  </a:lnTo>
                  <a:lnTo>
                    <a:pt x="413" y="15"/>
                  </a:lnTo>
                  <a:lnTo>
                    <a:pt x="433" y="9"/>
                  </a:lnTo>
                  <a:lnTo>
                    <a:pt x="455" y="5"/>
                  </a:lnTo>
                  <a:lnTo>
                    <a:pt x="478" y="2"/>
                  </a:lnTo>
                  <a:lnTo>
                    <a:pt x="501" y="0"/>
                  </a:lnTo>
                  <a:lnTo>
                    <a:pt x="524" y="0"/>
                  </a:lnTo>
                  <a:lnTo>
                    <a:pt x="500" y="1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  <a:cs typeface="+mn-cs"/>
              </a:endParaRPr>
            </a:p>
          </p:txBody>
        </p:sp>
        <p:sp>
          <p:nvSpPr>
            <p:cNvPr id="40" name="Freeform 37"/>
            <p:cNvSpPr>
              <a:spLocks noEditPoints="1"/>
            </p:cNvSpPr>
            <p:nvPr/>
          </p:nvSpPr>
          <p:spPr bwMode="gray">
            <a:xfrm>
              <a:off x="3665538" y="3751263"/>
              <a:ext cx="130175" cy="173037"/>
            </a:xfrm>
            <a:custGeom>
              <a:avLst/>
              <a:gdLst/>
              <a:ahLst/>
              <a:cxnLst>
                <a:cxn ang="0">
                  <a:pos x="483" y="229"/>
                </a:cxn>
                <a:cxn ang="0">
                  <a:pos x="161" y="242"/>
                </a:cxn>
                <a:cxn ang="0">
                  <a:pos x="182" y="195"/>
                </a:cxn>
                <a:cxn ang="0">
                  <a:pos x="209" y="154"/>
                </a:cxn>
                <a:cxn ang="0">
                  <a:pos x="242" y="122"/>
                </a:cxn>
                <a:cxn ang="0">
                  <a:pos x="285" y="100"/>
                </a:cxn>
                <a:cxn ang="0">
                  <a:pos x="336" y="89"/>
                </a:cxn>
                <a:cxn ang="0">
                  <a:pos x="383" y="90"/>
                </a:cxn>
                <a:cxn ang="0">
                  <a:pos x="420" y="102"/>
                </a:cxn>
                <a:cxn ang="0">
                  <a:pos x="449" y="121"/>
                </a:cxn>
                <a:cxn ang="0">
                  <a:pos x="470" y="149"/>
                </a:cxn>
                <a:cxn ang="0">
                  <a:pos x="481" y="184"/>
                </a:cxn>
                <a:cxn ang="0">
                  <a:pos x="605" y="218"/>
                </a:cxn>
                <a:cxn ang="0">
                  <a:pos x="602" y="181"/>
                </a:cxn>
                <a:cxn ang="0">
                  <a:pos x="594" y="146"/>
                </a:cxn>
                <a:cxn ang="0">
                  <a:pos x="580" y="116"/>
                </a:cxn>
                <a:cxn ang="0">
                  <a:pos x="563" y="88"/>
                </a:cxn>
                <a:cxn ang="0">
                  <a:pos x="541" y="64"/>
                </a:cxn>
                <a:cxn ang="0">
                  <a:pos x="514" y="44"/>
                </a:cxn>
                <a:cxn ang="0">
                  <a:pos x="476" y="23"/>
                </a:cxn>
                <a:cxn ang="0">
                  <a:pos x="410" y="4"/>
                </a:cxn>
                <a:cxn ang="0">
                  <a:pos x="339" y="1"/>
                </a:cxn>
                <a:cxn ang="0">
                  <a:pos x="273" y="11"/>
                </a:cxn>
                <a:cxn ang="0">
                  <a:pos x="214" y="34"/>
                </a:cxn>
                <a:cxn ang="0">
                  <a:pos x="164" y="66"/>
                </a:cxn>
                <a:cxn ang="0">
                  <a:pos x="121" y="108"/>
                </a:cxn>
                <a:cxn ang="0">
                  <a:pos x="85" y="157"/>
                </a:cxn>
                <a:cxn ang="0">
                  <a:pos x="55" y="212"/>
                </a:cxn>
                <a:cxn ang="0">
                  <a:pos x="32" y="272"/>
                </a:cxn>
                <a:cxn ang="0">
                  <a:pos x="16" y="334"/>
                </a:cxn>
                <a:cxn ang="0">
                  <a:pos x="5" y="398"/>
                </a:cxn>
                <a:cxn ang="0">
                  <a:pos x="1" y="463"/>
                </a:cxn>
                <a:cxn ang="0">
                  <a:pos x="1" y="523"/>
                </a:cxn>
                <a:cxn ang="0">
                  <a:pos x="8" y="578"/>
                </a:cxn>
                <a:cxn ang="0">
                  <a:pos x="20" y="626"/>
                </a:cxn>
                <a:cxn ang="0">
                  <a:pos x="38" y="668"/>
                </a:cxn>
                <a:cxn ang="0">
                  <a:pos x="61" y="705"/>
                </a:cxn>
                <a:cxn ang="0">
                  <a:pos x="90" y="737"/>
                </a:cxn>
                <a:cxn ang="0">
                  <a:pos x="125" y="762"/>
                </a:cxn>
                <a:cxn ang="0">
                  <a:pos x="165" y="782"/>
                </a:cxn>
                <a:cxn ang="0">
                  <a:pos x="211" y="795"/>
                </a:cxn>
                <a:cxn ang="0">
                  <a:pos x="265" y="804"/>
                </a:cxn>
                <a:cxn ang="0">
                  <a:pos x="323" y="806"/>
                </a:cxn>
                <a:cxn ang="0">
                  <a:pos x="383" y="803"/>
                </a:cxn>
                <a:cxn ang="0">
                  <a:pos x="442" y="793"/>
                </a:cxn>
                <a:cxn ang="0">
                  <a:pos x="499" y="693"/>
                </a:cxn>
                <a:cxn ang="0">
                  <a:pos x="424" y="706"/>
                </a:cxn>
                <a:cxn ang="0">
                  <a:pos x="379" y="709"/>
                </a:cxn>
                <a:cxn ang="0">
                  <a:pos x="332" y="707"/>
                </a:cxn>
                <a:cxn ang="0">
                  <a:pos x="290" y="701"/>
                </a:cxn>
                <a:cxn ang="0">
                  <a:pos x="253" y="690"/>
                </a:cxn>
                <a:cxn ang="0">
                  <a:pos x="221" y="674"/>
                </a:cxn>
                <a:cxn ang="0">
                  <a:pos x="195" y="654"/>
                </a:cxn>
                <a:cxn ang="0">
                  <a:pos x="173" y="630"/>
                </a:cxn>
                <a:cxn ang="0">
                  <a:pos x="156" y="601"/>
                </a:cxn>
                <a:cxn ang="0">
                  <a:pos x="143" y="567"/>
                </a:cxn>
                <a:cxn ang="0">
                  <a:pos x="134" y="528"/>
                </a:cxn>
                <a:cxn ang="0">
                  <a:pos x="129" y="452"/>
                </a:cxn>
                <a:cxn ang="0">
                  <a:pos x="131" y="376"/>
                </a:cxn>
                <a:cxn ang="0">
                  <a:pos x="137" y="330"/>
                </a:cxn>
                <a:cxn ang="0">
                  <a:pos x="600" y="277"/>
                </a:cxn>
                <a:cxn ang="0">
                  <a:pos x="605" y="233"/>
                </a:cxn>
              </a:cxnLst>
              <a:rect l="0" t="0" r="r" b="b"/>
              <a:pathLst>
                <a:path w="605" h="806">
                  <a:moveTo>
                    <a:pt x="483" y="210"/>
                  </a:moveTo>
                  <a:lnTo>
                    <a:pt x="483" y="221"/>
                  </a:lnTo>
                  <a:lnTo>
                    <a:pt x="483" y="229"/>
                  </a:lnTo>
                  <a:lnTo>
                    <a:pt x="483" y="236"/>
                  </a:lnTo>
                  <a:lnTo>
                    <a:pt x="483" y="242"/>
                  </a:lnTo>
                  <a:lnTo>
                    <a:pt x="161" y="242"/>
                  </a:lnTo>
                  <a:lnTo>
                    <a:pt x="167" y="226"/>
                  </a:lnTo>
                  <a:lnTo>
                    <a:pt x="174" y="210"/>
                  </a:lnTo>
                  <a:lnTo>
                    <a:pt x="182" y="195"/>
                  </a:lnTo>
                  <a:lnTo>
                    <a:pt x="190" y="181"/>
                  </a:lnTo>
                  <a:lnTo>
                    <a:pt x="199" y="167"/>
                  </a:lnTo>
                  <a:lnTo>
                    <a:pt x="209" y="154"/>
                  </a:lnTo>
                  <a:lnTo>
                    <a:pt x="219" y="142"/>
                  </a:lnTo>
                  <a:lnTo>
                    <a:pt x="230" y="131"/>
                  </a:lnTo>
                  <a:lnTo>
                    <a:pt x="242" y="122"/>
                  </a:lnTo>
                  <a:lnTo>
                    <a:pt x="255" y="113"/>
                  </a:lnTo>
                  <a:lnTo>
                    <a:pt x="270" y="106"/>
                  </a:lnTo>
                  <a:lnTo>
                    <a:pt x="285" y="100"/>
                  </a:lnTo>
                  <a:lnTo>
                    <a:pt x="301" y="95"/>
                  </a:lnTo>
                  <a:lnTo>
                    <a:pt x="318" y="91"/>
                  </a:lnTo>
                  <a:lnTo>
                    <a:pt x="336" y="89"/>
                  </a:lnTo>
                  <a:lnTo>
                    <a:pt x="355" y="88"/>
                  </a:lnTo>
                  <a:lnTo>
                    <a:pt x="369" y="89"/>
                  </a:lnTo>
                  <a:lnTo>
                    <a:pt x="383" y="90"/>
                  </a:lnTo>
                  <a:lnTo>
                    <a:pt x="396" y="93"/>
                  </a:lnTo>
                  <a:lnTo>
                    <a:pt x="409" y="97"/>
                  </a:lnTo>
                  <a:lnTo>
                    <a:pt x="420" y="102"/>
                  </a:lnTo>
                  <a:lnTo>
                    <a:pt x="431" y="107"/>
                  </a:lnTo>
                  <a:lnTo>
                    <a:pt x="440" y="114"/>
                  </a:lnTo>
                  <a:lnTo>
                    <a:pt x="449" y="121"/>
                  </a:lnTo>
                  <a:lnTo>
                    <a:pt x="457" y="130"/>
                  </a:lnTo>
                  <a:lnTo>
                    <a:pt x="464" y="139"/>
                  </a:lnTo>
                  <a:lnTo>
                    <a:pt x="470" y="149"/>
                  </a:lnTo>
                  <a:lnTo>
                    <a:pt x="475" y="159"/>
                  </a:lnTo>
                  <a:lnTo>
                    <a:pt x="478" y="172"/>
                  </a:lnTo>
                  <a:lnTo>
                    <a:pt x="481" y="184"/>
                  </a:lnTo>
                  <a:lnTo>
                    <a:pt x="483" y="197"/>
                  </a:lnTo>
                  <a:lnTo>
                    <a:pt x="483" y="210"/>
                  </a:lnTo>
                  <a:close/>
                  <a:moveTo>
                    <a:pt x="605" y="218"/>
                  </a:moveTo>
                  <a:lnTo>
                    <a:pt x="605" y="205"/>
                  </a:lnTo>
                  <a:lnTo>
                    <a:pt x="604" y="193"/>
                  </a:lnTo>
                  <a:lnTo>
                    <a:pt x="602" y="181"/>
                  </a:lnTo>
                  <a:lnTo>
                    <a:pt x="600" y="169"/>
                  </a:lnTo>
                  <a:lnTo>
                    <a:pt x="597" y="157"/>
                  </a:lnTo>
                  <a:lnTo>
                    <a:pt x="594" y="146"/>
                  </a:lnTo>
                  <a:lnTo>
                    <a:pt x="590" y="136"/>
                  </a:lnTo>
                  <a:lnTo>
                    <a:pt x="585" y="125"/>
                  </a:lnTo>
                  <a:lnTo>
                    <a:pt x="580" y="116"/>
                  </a:lnTo>
                  <a:lnTo>
                    <a:pt x="575" y="106"/>
                  </a:lnTo>
                  <a:lnTo>
                    <a:pt x="569" y="97"/>
                  </a:lnTo>
                  <a:lnTo>
                    <a:pt x="563" y="88"/>
                  </a:lnTo>
                  <a:lnTo>
                    <a:pt x="556" y="80"/>
                  </a:lnTo>
                  <a:lnTo>
                    <a:pt x="548" y="72"/>
                  </a:lnTo>
                  <a:lnTo>
                    <a:pt x="541" y="64"/>
                  </a:lnTo>
                  <a:lnTo>
                    <a:pt x="532" y="57"/>
                  </a:lnTo>
                  <a:lnTo>
                    <a:pt x="523" y="50"/>
                  </a:lnTo>
                  <a:lnTo>
                    <a:pt x="514" y="44"/>
                  </a:lnTo>
                  <a:lnTo>
                    <a:pt x="505" y="38"/>
                  </a:lnTo>
                  <a:lnTo>
                    <a:pt x="496" y="33"/>
                  </a:lnTo>
                  <a:lnTo>
                    <a:pt x="476" y="23"/>
                  </a:lnTo>
                  <a:lnTo>
                    <a:pt x="455" y="15"/>
                  </a:lnTo>
                  <a:lnTo>
                    <a:pt x="433" y="8"/>
                  </a:lnTo>
                  <a:lnTo>
                    <a:pt x="410" y="4"/>
                  </a:lnTo>
                  <a:lnTo>
                    <a:pt x="387" y="1"/>
                  </a:lnTo>
                  <a:lnTo>
                    <a:pt x="363" y="0"/>
                  </a:lnTo>
                  <a:lnTo>
                    <a:pt x="339" y="1"/>
                  </a:lnTo>
                  <a:lnTo>
                    <a:pt x="316" y="3"/>
                  </a:lnTo>
                  <a:lnTo>
                    <a:pt x="294" y="6"/>
                  </a:lnTo>
                  <a:lnTo>
                    <a:pt x="273" y="11"/>
                  </a:lnTo>
                  <a:lnTo>
                    <a:pt x="252" y="18"/>
                  </a:lnTo>
                  <a:lnTo>
                    <a:pt x="233" y="25"/>
                  </a:lnTo>
                  <a:lnTo>
                    <a:pt x="214" y="34"/>
                  </a:lnTo>
                  <a:lnTo>
                    <a:pt x="197" y="44"/>
                  </a:lnTo>
                  <a:lnTo>
                    <a:pt x="180" y="55"/>
                  </a:lnTo>
                  <a:lnTo>
                    <a:pt x="164" y="66"/>
                  </a:lnTo>
                  <a:lnTo>
                    <a:pt x="149" y="79"/>
                  </a:lnTo>
                  <a:lnTo>
                    <a:pt x="134" y="93"/>
                  </a:lnTo>
                  <a:lnTo>
                    <a:pt x="121" y="108"/>
                  </a:lnTo>
                  <a:lnTo>
                    <a:pt x="108" y="123"/>
                  </a:lnTo>
                  <a:lnTo>
                    <a:pt x="96" y="140"/>
                  </a:lnTo>
                  <a:lnTo>
                    <a:pt x="85" y="157"/>
                  </a:lnTo>
                  <a:lnTo>
                    <a:pt x="74" y="175"/>
                  </a:lnTo>
                  <a:lnTo>
                    <a:pt x="64" y="193"/>
                  </a:lnTo>
                  <a:lnTo>
                    <a:pt x="55" y="212"/>
                  </a:lnTo>
                  <a:lnTo>
                    <a:pt x="47" y="232"/>
                  </a:lnTo>
                  <a:lnTo>
                    <a:pt x="39" y="251"/>
                  </a:lnTo>
                  <a:lnTo>
                    <a:pt x="32" y="272"/>
                  </a:lnTo>
                  <a:lnTo>
                    <a:pt x="26" y="292"/>
                  </a:lnTo>
                  <a:lnTo>
                    <a:pt x="21" y="313"/>
                  </a:lnTo>
                  <a:lnTo>
                    <a:pt x="16" y="334"/>
                  </a:lnTo>
                  <a:lnTo>
                    <a:pt x="12" y="355"/>
                  </a:lnTo>
                  <a:lnTo>
                    <a:pt x="8" y="376"/>
                  </a:lnTo>
                  <a:lnTo>
                    <a:pt x="5" y="398"/>
                  </a:lnTo>
                  <a:lnTo>
                    <a:pt x="3" y="419"/>
                  </a:lnTo>
                  <a:lnTo>
                    <a:pt x="1" y="442"/>
                  </a:lnTo>
                  <a:lnTo>
                    <a:pt x="1" y="463"/>
                  </a:lnTo>
                  <a:lnTo>
                    <a:pt x="0" y="484"/>
                  </a:lnTo>
                  <a:lnTo>
                    <a:pt x="1" y="504"/>
                  </a:lnTo>
                  <a:lnTo>
                    <a:pt x="1" y="523"/>
                  </a:lnTo>
                  <a:lnTo>
                    <a:pt x="3" y="542"/>
                  </a:lnTo>
                  <a:lnTo>
                    <a:pt x="5" y="560"/>
                  </a:lnTo>
                  <a:lnTo>
                    <a:pt x="8" y="578"/>
                  </a:lnTo>
                  <a:lnTo>
                    <a:pt x="11" y="594"/>
                  </a:lnTo>
                  <a:lnTo>
                    <a:pt x="15" y="610"/>
                  </a:lnTo>
                  <a:lnTo>
                    <a:pt x="20" y="626"/>
                  </a:lnTo>
                  <a:lnTo>
                    <a:pt x="25" y="641"/>
                  </a:lnTo>
                  <a:lnTo>
                    <a:pt x="31" y="655"/>
                  </a:lnTo>
                  <a:lnTo>
                    <a:pt x="38" y="668"/>
                  </a:lnTo>
                  <a:lnTo>
                    <a:pt x="45" y="681"/>
                  </a:lnTo>
                  <a:lnTo>
                    <a:pt x="52" y="693"/>
                  </a:lnTo>
                  <a:lnTo>
                    <a:pt x="61" y="705"/>
                  </a:lnTo>
                  <a:lnTo>
                    <a:pt x="70" y="716"/>
                  </a:lnTo>
                  <a:lnTo>
                    <a:pt x="80" y="727"/>
                  </a:lnTo>
                  <a:lnTo>
                    <a:pt x="90" y="737"/>
                  </a:lnTo>
                  <a:lnTo>
                    <a:pt x="101" y="746"/>
                  </a:lnTo>
                  <a:lnTo>
                    <a:pt x="112" y="754"/>
                  </a:lnTo>
                  <a:lnTo>
                    <a:pt x="125" y="762"/>
                  </a:lnTo>
                  <a:lnTo>
                    <a:pt x="137" y="769"/>
                  </a:lnTo>
                  <a:lnTo>
                    <a:pt x="151" y="776"/>
                  </a:lnTo>
                  <a:lnTo>
                    <a:pt x="165" y="782"/>
                  </a:lnTo>
                  <a:lnTo>
                    <a:pt x="180" y="787"/>
                  </a:lnTo>
                  <a:lnTo>
                    <a:pt x="195" y="791"/>
                  </a:lnTo>
                  <a:lnTo>
                    <a:pt x="211" y="795"/>
                  </a:lnTo>
                  <a:lnTo>
                    <a:pt x="228" y="799"/>
                  </a:lnTo>
                  <a:lnTo>
                    <a:pt x="246" y="802"/>
                  </a:lnTo>
                  <a:lnTo>
                    <a:pt x="265" y="804"/>
                  </a:lnTo>
                  <a:lnTo>
                    <a:pt x="283" y="805"/>
                  </a:lnTo>
                  <a:lnTo>
                    <a:pt x="303" y="806"/>
                  </a:lnTo>
                  <a:lnTo>
                    <a:pt x="323" y="806"/>
                  </a:lnTo>
                  <a:lnTo>
                    <a:pt x="343" y="806"/>
                  </a:lnTo>
                  <a:lnTo>
                    <a:pt x="364" y="805"/>
                  </a:lnTo>
                  <a:lnTo>
                    <a:pt x="383" y="803"/>
                  </a:lnTo>
                  <a:lnTo>
                    <a:pt x="403" y="800"/>
                  </a:lnTo>
                  <a:lnTo>
                    <a:pt x="423" y="797"/>
                  </a:lnTo>
                  <a:lnTo>
                    <a:pt x="442" y="793"/>
                  </a:lnTo>
                  <a:lnTo>
                    <a:pt x="463" y="788"/>
                  </a:lnTo>
                  <a:lnTo>
                    <a:pt x="483" y="782"/>
                  </a:lnTo>
                  <a:lnTo>
                    <a:pt x="499" y="693"/>
                  </a:lnTo>
                  <a:lnTo>
                    <a:pt x="469" y="699"/>
                  </a:lnTo>
                  <a:lnTo>
                    <a:pt x="439" y="704"/>
                  </a:lnTo>
                  <a:lnTo>
                    <a:pt x="424" y="706"/>
                  </a:lnTo>
                  <a:lnTo>
                    <a:pt x="409" y="708"/>
                  </a:lnTo>
                  <a:lnTo>
                    <a:pt x="394" y="709"/>
                  </a:lnTo>
                  <a:lnTo>
                    <a:pt x="379" y="709"/>
                  </a:lnTo>
                  <a:lnTo>
                    <a:pt x="363" y="709"/>
                  </a:lnTo>
                  <a:lnTo>
                    <a:pt x="347" y="708"/>
                  </a:lnTo>
                  <a:lnTo>
                    <a:pt x="332" y="707"/>
                  </a:lnTo>
                  <a:lnTo>
                    <a:pt x="317" y="705"/>
                  </a:lnTo>
                  <a:lnTo>
                    <a:pt x="304" y="703"/>
                  </a:lnTo>
                  <a:lnTo>
                    <a:pt x="290" y="701"/>
                  </a:lnTo>
                  <a:lnTo>
                    <a:pt x="278" y="697"/>
                  </a:lnTo>
                  <a:lnTo>
                    <a:pt x="265" y="694"/>
                  </a:lnTo>
                  <a:lnTo>
                    <a:pt x="253" y="690"/>
                  </a:lnTo>
                  <a:lnTo>
                    <a:pt x="242" y="685"/>
                  </a:lnTo>
                  <a:lnTo>
                    <a:pt x="231" y="680"/>
                  </a:lnTo>
                  <a:lnTo>
                    <a:pt x="221" y="674"/>
                  </a:lnTo>
                  <a:lnTo>
                    <a:pt x="212" y="668"/>
                  </a:lnTo>
                  <a:lnTo>
                    <a:pt x="203" y="662"/>
                  </a:lnTo>
                  <a:lnTo>
                    <a:pt x="195" y="654"/>
                  </a:lnTo>
                  <a:lnTo>
                    <a:pt x="187" y="647"/>
                  </a:lnTo>
                  <a:lnTo>
                    <a:pt x="180" y="639"/>
                  </a:lnTo>
                  <a:lnTo>
                    <a:pt x="173" y="630"/>
                  </a:lnTo>
                  <a:lnTo>
                    <a:pt x="167" y="621"/>
                  </a:lnTo>
                  <a:lnTo>
                    <a:pt x="161" y="611"/>
                  </a:lnTo>
                  <a:lnTo>
                    <a:pt x="156" y="601"/>
                  </a:lnTo>
                  <a:lnTo>
                    <a:pt x="151" y="590"/>
                  </a:lnTo>
                  <a:lnTo>
                    <a:pt x="147" y="579"/>
                  </a:lnTo>
                  <a:lnTo>
                    <a:pt x="143" y="567"/>
                  </a:lnTo>
                  <a:lnTo>
                    <a:pt x="139" y="554"/>
                  </a:lnTo>
                  <a:lnTo>
                    <a:pt x="137" y="541"/>
                  </a:lnTo>
                  <a:lnTo>
                    <a:pt x="134" y="528"/>
                  </a:lnTo>
                  <a:lnTo>
                    <a:pt x="132" y="514"/>
                  </a:lnTo>
                  <a:lnTo>
                    <a:pt x="130" y="484"/>
                  </a:lnTo>
                  <a:lnTo>
                    <a:pt x="129" y="452"/>
                  </a:lnTo>
                  <a:lnTo>
                    <a:pt x="129" y="421"/>
                  </a:lnTo>
                  <a:lnTo>
                    <a:pt x="130" y="391"/>
                  </a:lnTo>
                  <a:lnTo>
                    <a:pt x="131" y="376"/>
                  </a:lnTo>
                  <a:lnTo>
                    <a:pt x="132" y="361"/>
                  </a:lnTo>
                  <a:lnTo>
                    <a:pt x="134" y="345"/>
                  </a:lnTo>
                  <a:lnTo>
                    <a:pt x="137" y="330"/>
                  </a:lnTo>
                  <a:lnTo>
                    <a:pt x="589" y="330"/>
                  </a:lnTo>
                  <a:lnTo>
                    <a:pt x="595" y="305"/>
                  </a:lnTo>
                  <a:lnTo>
                    <a:pt x="600" y="277"/>
                  </a:lnTo>
                  <a:lnTo>
                    <a:pt x="602" y="263"/>
                  </a:lnTo>
                  <a:lnTo>
                    <a:pt x="604" y="248"/>
                  </a:lnTo>
                  <a:lnTo>
                    <a:pt x="605" y="233"/>
                  </a:lnTo>
                  <a:lnTo>
                    <a:pt x="605" y="21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  <a:cs typeface="+mn-cs"/>
              </a:endParaRPr>
            </a:p>
          </p:txBody>
        </p:sp>
        <p:sp>
          <p:nvSpPr>
            <p:cNvPr id="41" name="Freeform 38"/>
            <p:cNvSpPr>
              <a:spLocks noEditPoints="1"/>
            </p:cNvSpPr>
            <p:nvPr/>
          </p:nvSpPr>
          <p:spPr bwMode="gray">
            <a:xfrm>
              <a:off x="3808413" y="3679825"/>
              <a:ext cx="157162" cy="244475"/>
            </a:xfrm>
            <a:custGeom>
              <a:avLst/>
              <a:gdLst/>
              <a:ahLst/>
              <a:cxnLst>
                <a:cxn ang="0">
                  <a:pos x="481" y="686"/>
                </a:cxn>
                <a:cxn ang="0">
                  <a:pos x="464" y="786"/>
                </a:cxn>
                <a:cxn ang="0">
                  <a:pos x="444" y="854"/>
                </a:cxn>
                <a:cxn ang="0">
                  <a:pos x="423" y="902"/>
                </a:cxn>
                <a:cxn ang="0">
                  <a:pos x="398" y="946"/>
                </a:cxn>
                <a:cxn ang="0">
                  <a:pos x="369" y="984"/>
                </a:cxn>
                <a:cxn ang="0">
                  <a:pos x="334" y="1014"/>
                </a:cxn>
                <a:cxn ang="0">
                  <a:pos x="295" y="1033"/>
                </a:cxn>
                <a:cxn ang="0">
                  <a:pos x="250" y="1040"/>
                </a:cxn>
                <a:cxn ang="0">
                  <a:pos x="223" y="1037"/>
                </a:cxn>
                <a:cxn ang="0">
                  <a:pos x="200" y="1030"/>
                </a:cxn>
                <a:cxn ang="0">
                  <a:pos x="181" y="1018"/>
                </a:cxn>
                <a:cxn ang="0">
                  <a:pos x="166" y="1003"/>
                </a:cxn>
                <a:cxn ang="0">
                  <a:pos x="144" y="964"/>
                </a:cxn>
                <a:cxn ang="0">
                  <a:pos x="133" y="918"/>
                </a:cxn>
                <a:cxn ang="0">
                  <a:pos x="129" y="871"/>
                </a:cxn>
                <a:cxn ang="0">
                  <a:pos x="131" y="800"/>
                </a:cxn>
                <a:cxn ang="0">
                  <a:pos x="147" y="697"/>
                </a:cxn>
                <a:cxn ang="0">
                  <a:pos x="178" y="589"/>
                </a:cxn>
                <a:cxn ang="0">
                  <a:pos x="199" y="539"/>
                </a:cxn>
                <a:cxn ang="0">
                  <a:pos x="225" y="495"/>
                </a:cxn>
                <a:cxn ang="0">
                  <a:pos x="256" y="458"/>
                </a:cxn>
                <a:cxn ang="0">
                  <a:pos x="291" y="433"/>
                </a:cxn>
                <a:cxn ang="0">
                  <a:pos x="332" y="420"/>
                </a:cxn>
                <a:cxn ang="0">
                  <a:pos x="365" y="421"/>
                </a:cxn>
                <a:cxn ang="0">
                  <a:pos x="390" y="428"/>
                </a:cxn>
                <a:cxn ang="0">
                  <a:pos x="412" y="439"/>
                </a:cxn>
                <a:cxn ang="0">
                  <a:pos x="430" y="456"/>
                </a:cxn>
                <a:cxn ang="0">
                  <a:pos x="455" y="492"/>
                </a:cxn>
                <a:cxn ang="0">
                  <a:pos x="474" y="542"/>
                </a:cxn>
                <a:cxn ang="0">
                  <a:pos x="483" y="595"/>
                </a:cxn>
                <a:cxn ang="0">
                  <a:pos x="734" y="0"/>
                </a:cxn>
                <a:cxn ang="0">
                  <a:pos x="526" y="453"/>
                </a:cxn>
                <a:cxn ang="0">
                  <a:pos x="501" y="412"/>
                </a:cxn>
                <a:cxn ang="0">
                  <a:pos x="469" y="379"/>
                </a:cxn>
                <a:cxn ang="0">
                  <a:pos x="430" y="353"/>
                </a:cxn>
                <a:cxn ang="0">
                  <a:pos x="386" y="337"/>
                </a:cxn>
                <a:cxn ang="0">
                  <a:pos x="339" y="331"/>
                </a:cxn>
                <a:cxn ang="0">
                  <a:pos x="275" y="339"/>
                </a:cxn>
                <a:cxn ang="0">
                  <a:pos x="218" y="363"/>
                </a:cxn>
                <a:cxn ang="0">
                  <a:pos x="168" y="400"/>
                </a:cxn>
                <a:cxn ang="0">
                  <a:pos x="125" y="448"/>
                </a:cxn>
                <a:cxn ang="0">
                  <a:pos x="89" y="506"/>
                </a:cxn>
                <a:cxn ang="0">
                  <a:pos x="60" y="568"/>
                </a:cxn>
                <a:cxn ang="0">
                  <a:pos x="36" y="634"/>
                </a:cxn>
                <a:cxn ang="0">
                  <a:pos x="19" y="701"/>
                </a:cxn>
                <a:cxn ang="0">
                  <a:pos x="7" y="768"/>
                </a:cxn>
                <a:cxn ang="0">
                  <a:pos x="1" y="832"/>
                </a:cxn>
                <a:cxn ang="0">
                  <a:pos x="1" y="895"/>
                </a:cxn>
                <a:cxn ang="0">
                  <a:pos x="11" y="967"/>
                </a:cxn>
                <a:cxn ang="0">
                  <a:pos x="31" y="1022"/>
                </a:cxn>
                <a:cxn ang="0">
                  <a:pos x="47" y="1053"/>
                </a:cxn>
                <a:cxn ang="0">
                  <a:pos x="68" y="1080"/>
                </a:cxn>
                <a:cxn ang="0">
                  <a:pos x="93" y="1102"/>
                </a:cxn>
                <a:cxn ang="0">
                  <a:pos x="122" y="1119"/>
                </a:cxn>
                <a:cxn ang="0">
                  <a:pos x="156" y="1131"/>
                </a:cxn>
                <a:cxn ang="0">
                  <a:pos x="196" y="1137"/>
                </a:cxn>
                <a:cxn ang="0">
                  <a:pos x="250" y="1135"/>
                </a:cxn>
                <a:cxn ang="0">
                  <a:pos x="300" y="1122"/>
                </a:cxn>
                <a:cxn ang="0">
                  <a:pos x="343" y="1098"/>
                </a:cxn>
                <a:cxn ang="0">
                  <a:pos x="378" y="1066"/>
                </a:cxn>
                <a:cxn ang="0">
                  <a:pos x="408" y="1023"/>
                </a:cxn>
                <a:cxn ang="0">
                  <a:pos x="403" y="1121"/>
                </a:cxn>
              </a:cxnLst>
              <a:rect l="0" t="0" r="r" b="b"/>
              <a:pathLst>
                <a:path w="734" h="1137">
                  <a:moveTo>
                    <a:pt x="484" y="629"/>
                  </a:moveTo>
                  <a:lnTo>
                    <a:pt x="484" y="656"/>
                  </a:lnTo>
                  <a:lnTo>
                    <a:pt x="481" y="686"/>
                  </a:lnTo>
                  <a:lnTo>
                    <a:pt x="477" y="718"/>
                  </a:lnTo>
                  <a:lnTo>
                    <a:pt x="472" y="751"/>
                  </a:lnTo>
                  <a:lnTo>
                    <a:pt x="464" y="786"/>
                  </a:lnTo>
                  <a:lnTo>
                    <a:pt x="455" y="820"/>
                  </a:lnTo>
                  <a:lnTo>
                    <a:pt x="450" y="837"/>
                  </a:lnTo>
                  <a:lnTo>
                    <a:pt x="444" y="854"/>
                  </a:lnTo>
                  <a:lnTo>
                    <a:pt x="437" y="870"/>
                  </a:lnTo>
                  <a:lnTo>
                    <a:pt x="430" y="886"/>
                  </a:lnTo>
                  <a:lnTo>
                    <a:pt x="423" y="902"/>
                  </a:lnTo>
                  <a:lnTo>
                    <a:pt x="415" y="918"/>
                  </a:lnTo>
                  <a:lnTo>
                    <a:pt x="407" y="932"/>
                  </a:lnTo>
                  <a:lnTo>
                    <a:pt x="398" y="946"/>
                  </a:lnTo>
                  <a:lnTo>
                    <a:pt x="389" y="960"/>
                  </a:lnTo>
                  <a:lnTo>
                    <a:pt x="379" y="973"/>
                  </a:lnTo>
                  <a:lnTo>
                    <a:pt x="369" y="984"/>
                  </a:lnTo>
                  <a:lnTo>
                    <a:pt x="358" y="995"/>
                  </a:lnTo>
                  <a:lnTo>
                    <a:pt x="346" y="1005"/>
                  </a:lnTo>
                  <a:lnTo>
                    <a:pt x="334" y="1014"/>
                  </a:lnTo>
                  <a:lnTo>
                    <a:pt x="322" y="1022"/>
                  </a:lnTo>
                  <a:lnTo>
                    <a:pt x="309" y="1028"/>
                  </a:lnTo>
                  <a:lnTo>
                    <a:pt x="295" y="1033"/>
                  </a:lnTo>
                  <a:lnTo>
                    <a:pt x="281" y="1037"/>
                  </a:lnTo>
                  <a:lnTo>
                    <a:pt x="266" y="1039"/>
                  </a:lnTo>
                  <a:lnTo>
                    <a:pt x="250" y="1040"/>
                  </a:lnTo>
                  <a:lnTo>
                    <a:pt x="241" y="1040"/>
                  </a:lnTo>
                  <a:lnTo>
                    <a:pt x="232" y="1039"/>
                  </a:lnTo>
                  <a:lnTo>
                    <a:pt x="223" y="1037"/>
                  </a:lnTo>
                  <a:lnTo>
                    <a:pt x="215" y="1035"/>
                  </a:lnTo>
                  <a:lnTo>
                    <a:pt x="207" y="1033"/>
                  </a:lnTo>
                  <a:lnTo>
                    <a:pt x="200" y="1030"/>
                  </a:lnTo>
                  <a:lnTo>
                    <a:pt x="194" y="1026"/>
                  </a:lnTo>
                  <a:lnTo>
                    <a:pt x="187" y="1022"/>
                  </a:lnTo>
                  <a:lnTo>
                    <a:pt x="181" y="1018"/>
                  </a:lnTo>
                  <a:lnTo>
                    <a:pt x="176" y="1013"/>
                  </a:lnTo>
                  <a:lnTo>
                    <a:pt x="171" y="1008"/>
                  </a:lnTo>
                  <a:lnTo>
                    <a:pt x="166" y="1003"/>
                  </a:lnTo>
                  <a:lnTo>
                    <a:pt x="157" y="991"/>
                  </a:lnTo>
                  <a:lnTo>
                    <a:pt x="150" y="978"/>
                  </a:lnTo>
                  <a:lnTo>
                    <a:pt x="144" y="964"/>
                  </a:lnTo>
                  <a:lnTo>
                    <a:pt x="139" y="949"/>
                  </a:lnTo>
                  <a:lnTo>
                    <a:pt x="136" y="934"/>
                  </a:lnTo>
                  <a:lnTo>
                    <a:pt x="133" y="918"/>
                  </a:lnTo>
                  <a:lnTo>
                    <a:pt x="131" y="902"/>
                  </a:lnTo>
                  <a:lnTo>
                    <a:pt x="130" y="886"/>
                  </a:lnTo>
                  <a:lnTo>
                    <a:pt x="129" y="871"/>
                  </a:lnTo>
                  <a:lnTo>
                    <a:pt x="129" y="855"/>
                  </a:lnTo>
                  <a:lnTo>
                    <a:pt x="129" y="829"/>
                  </a:lnTo>
                  <a:lnTo>
                    <a:pt x="131" y="800"/>
                  </a:lnTo>
                  <a:lnTo>
                    <a:pt x="135" y="766"/>
                  </a:lnTo>
                  <a:lnTo>
                    <a:pt x="140" y="732"/>
                  </a:lnTo>
                  <a:lnTo>
                    <a:pt x="147" y="697"/>
                  </a:lnTo>
                  <a:lnTo>
                    <a:pt x="155" y="660"/>
                  </a:lnTo>
                  <a:lnTo>
                    <a:pt x="166" y="624"/>
                  </a:lnTo>
                  <a:lnTo>
                    <a:pt x="178" y="589"/>
                  </a:lnTo>
                  <a:lnTo>
                    <a:pt x="185" y="572"/>
                  </a:lnTo>
                  <a:lnTo>
                    <a:pt x="192" y="555"/>
                  </a:lnTo>
                  <a:lnTo>
                    <a:pt x="199" y="539"/>
                  </a:lnTo>
                  <a:lnTo>
                    <a:pt x="207" y="524"/>
                  </a:lnTo>
                  <a:lnTo>
                    <a:pt x="216" y="509"/>
                  </a:lnTo>
                  <a:lnTo>
                    <a:pt x="225" y="495"/>
                  </a:lnTo>
                  <a:lnTo>
                    <a:pt x="235" y="481"/>
                  </a:lnTo>
                  <a:lnTo>
                    <a:pt x="245" y="469"/>
                  </a:lnTo>
                  <a:lnTo>
                    <a:pt x="256" y="458"/>
                  </a:lnTo>
                  <a:lnTo>
                    <a:pt x="267" y="448"/>
                  </a:lnTo>
                  <a:lnTo>
                    <a:pt x="279" y="440"/>
                  </a:lnTo>
                  <a:lnTo>
                    <a:pt x="291" y="433"/>
                  </a:lnTo>
                  <a:lnTo>
                    <a:pt x="304" y="427"/>
                  </a:lnTo>
                  <a:lnTo>
                    <a:pt x="318" y="423"/>
                  </a:lnTo>
                  <a:lnTo>
                    <a:pt x="332" y="420"/>
                  </a:lnTo>
                  <a:lnTo>
                    <a:pt x="347" y="419"/>
                  </a:lnTo>
                  <a:lnTo>
                    <a:pt x="356" y="420"/>
                  </a:lnTo>
                  <a:lnTo>
                    <a:pt x="365" y="421"/>
                  </a:lnTo>
                  <a:lnTo>
                    <a:pt x="374" y="422"/>
                  </a:lnTo>
                  <a:lnTo>
                    <a:pt x="383" y="425"/>
                  </a:lnTo>
                  <a:lnTo>
                    <a:pt x="390" y="428"/>
                  </a:lnTo>
                  <a:lnTo>
                    <a:pt x="398" y="431"/>
                  </a:lnTo>
                  <a:lnTo>
                    <a:pt x="405" y="435"/>
                  </a:lnTo>
                  <a:lnTo>
                    <a:pt x="412" y="439"/>
                  </a:lnTo>
                  <a:lnTo>
                    <a:pt x="419" y="445"/>
                  </a:lnTo>
                  <a:lnTo>
                    <a:pt x="425" y="450"/>
                  </a:lnTo>
                  <a:lnTo>
                    <a:pt x="430" y="456"/>
                  </a:lnTo>
                  <a:lnTo>
                    <a:pt x="436" y="462"/>
                  </a:lnTo>
                  <a:lnTo>
                    <a:pt x="447" y="476"/>
                  </a:lnTo>
                  <a:lnTo>
                    <a:pt x="455" y="492"/>
                  </a:lnTo>
                  <a:lnTo>
                    <a:pt x="462" y="508"/>
                  </a:lnTo>
                  <a:lnTo>
                    <a:pt x="469" y="524"/>
                  </a:lnTo>
                  <a:lnTo>
                    <a:pt x="474" y="542"/>
                  </a:lnTo>
                  <a:lnTo>
                    <a:pt x="478" y="559"/>
                  </a:lnTo>
                  <a:lnTo>
                    <a:pt x="481" y="577"/>
                  </a:lnTo>
                  <a:lnTo>
                    <a:pt x="483" y="595"/>
                  </a:lnTo>
                  <a:lnTo>
                    <a:pt x="484" y="612"/>
                  </a:lnTo>
                  <a:lnTo>
                    <a:pt x="484" y="629"/>
                  </a:lnTo>
                  <a:close/>
                  <a:moveTo>
                    <a:pt x="734" y="0"/>
                  </a:moveTo>
                  <a:lnTo>
                    <a:pt x="621" y="0"/>
                  </a:lnTo>
                  <a:lnTo>
                    <a:pt x="533" y="467"/>
                  </a:lnTo>
                  <a:lnTo>
                    <a:pt x="526" y="453"/>
                  </a:lnTo>
                  <a:lnTo>
                    <a:pt x="519" y="439"/>
                  </a:lnTo>
                  <a:lnTo>
                    <a:pt x="510" y="425"/>
                  </a:lnTo>
                  <a:lnTo>
                    <a:pt x="501" y="412"/>
                  </a:lnTo>
                  <a:lnTo>
                    <a:pt x="491" y="400"/>
                  </a:lnTo>
                  <a:lnTo>
                    <a:pt x="481" y="389"/>
                  </a:lnTo>
                  <a:lnTo>
                    <a:pt x="469" y="379"/>
                  </a:lnTo>
                  <a:lnTo>
                    <a:pt x="457" y="369"/>
                  </a:lnTo>
                  <a:lnTo>
                    <a:pt x="444" y="361"/>
                  </a:lnTo>
                  <a:lnTo>
                    <a:pt x="430" y="353"/>
                  </a:lnTo>
                  <a:lnTo>
                    <a:pt x="416" y="346"/>
                  </a:lnTo>
                  <a:lnTo>
                    <a:pt x="402" y="341"/>
                  </a:lnTo>
                  <a:lnTo>
                    <a:pt x="386" y="337"/>
                  </a:lnTo>
                  <a:lnTo>
                    <a:pt x="371" y="333"/>
                  </a:lnTo>
                  <a:lnTo>
                    <a:pt x="355" y="332"/>
                  </a:lnTo>
                  <a:lnTo>
                    <a:pt x="339" y="331"/>
                  </a:lnTo>
                  <a:lnTo>
                    <a:pt x="316" y="332"/>
                  </a:lnTo>
                  <a:lnTo>
                    <a:pt x="295" y="335"/>
                  </a:lnTo>
                  <a:lnTo>
                    <a:pt x="275" y="339"/>
                  </a:lnTo>
                  <a:lnTo>
                    <a:pt x="255" y="346"/>
                  </a:lnTo>
                  <a:lnTo>
                    <a:pt x="236" y="354"/>
                  </a:lnTo>
                  <a:lnTo>
                    <a:pt x="218" y="363"/>
                  </a:lnTo>
                  <a:lnTo>
                    <a:pt x="201" y="374"/>
                  </a:lnTo>
                  <a:lnTo>
                    <a:pt x="184" y="387"/>
                  </a:lnTo>
                  <a:lnTo>
                    <a:pt x="168" y="400"/>
                  </a:lnTo>
                  <a:lnTo>
                    <a:pt x="153" y="415"/>
                  </a:lnTo>
                  <a:lnTo>
                    <a:pt x="138" y="431"/>
                  </a:lnTo>
                  <a:lnTo>
                    <a:pt x="125" y="448"/>
                  </a:lnTo>
                  <a:lnTo>
                    <a:pt x="112" y="466"/>
                  </a:lnTo>
                  <a:lnTo>
                    <a:pt x="100" y="485"/>
                  </a:lnTo>
                  <a:lnTo>
                    <a:pt x="89" y="506"/>
                  </a:lnTo>
                  <a:lnTo>
                    <a:pt x="79" y="526"/>
                  </a:lnTo>
                  <a:lnTo>
                    <a:pt x="69" y="547"/>
                  </a:lnTo>
                  <a:lnTo>
                    <a:pt x="60" y="568"/>
                  </a:lnTo>
                  <a:lnTo>
                    <a:pt x="51" y="590"/>
                  </a:lnTo>
                  <a:lnTo>
                    <a:pt x="43" y="612"/>
                  </a:lnTo>
                  <a:lnTo>
                    <a:pt x="36" y="634"/>
                  </a:lnTo>
                  <a:lnTo>
                    <a:pt x="30" y="656"/>
                  </a:lnTo>
                  <a:lnTo>
                    <a:pt x="24" y="679"/>
                  </a:lnTo>
                  <a:lnTo>
                    <a:pt x="19" y="701"/>
                  </a:lnTo>
                  <a:lnTo>
                    <a:pt x="14" y="724"/>
                  </a:lnTo>
                  <a:lnTo>
                    <a:pt x="11" y="746"/>
                  </a:lnTo>
                  <a:lnTo>
                    <a:pt x="7" y="768"/>
                  </a:lnTo>
                  <a:lnTo>
                    <a:pt x="5" y="791"/>
                  </a:lnTo>
                  <a:lnTo>
                    <a:pt x="3" y="812"/>
                  </a:lnTo>
                  <a:lnTo>
                    <a:pt x="1" y="832"/>
                  </a:lnTo>
                  <a:lnTo>
                    <a:pt x="0" y="852"/>
                  </a:lnTo>
                  <a:lnTo>
                    <a:pt x="0" y="871"/>
                  </a:lnTo>
                  <a:lnTo>
                    <a:pt x="1" y="895"/>
                  </a:lnTo>
                  <a:lnTo>
                    <a:pt x="3" y="920"/>
                  </a:lnTo>
                  <a:lnTo>
                    <a:pt x="6" y="944"/>
                  </a:lnTo>
                  <a:lnTo>
                    <a:pt x="11" y="967"/>
                  </a:lnTo>
                  <a:lnTo>
                    <a:pt x="18" y="990"/>
                  </a:lnTo>
                  <a:lnTo>
                    <a:pt x="26" y="1012"/>
                  </a:lnTo>
                  <a:lnTo>
                    <a:pt x="31" y="1022"/>
                  </a:lnTo>
                  <a:lnTo>
                    <a:pt x="36" y="1033"/>
                  </a:lnTo>
                  <a:lnTo>
                    <a:pt x="41" y="1043"/>
                  </a:lnTo>
                  <a:lnTo>
                    <a:pt x="47" y="1053"/>
                  </a:lnTo>
                  <a:lnTo>
                    <a:pt x="54" y="1062"/>
                  </a:lnTo>
                  <a:lnTo>
                    <a:pt x="61" y="1071"/>
                  </a:lnTo>
                  <a:lnTo>
                    <a:pt x="68" y="1080"/>
                  </a:lnTo>
                  <a:lnTo>
                    <a:pt x="76" y="1088"/>
                  </a:lnTo>
                  <a:lnTo>
                    <a:pt x="84" y="1095"/>
                  </a:lnTo>
                  <a:lnTo>
                    <a:pt x="93" y="1102"/>
                  </a:lnTo>
                  <a:lnTo>
                    <a:pt x="102" y="1108"/>
                  </a:lnTo>
                  <a:lnTo>
                    <a:pt x="112" y="1114"/>
                  </a:lnTo>
                  <a:lnTo>
                    <a:pt x="122" y="1119"/>
                  </a:lnTo>
                  <a:lnTo>
                    <a:pt x="133" y="1124"/>
                  </a:lnTo>
                  <a:lnTo>
                    <a:pt x="144" y="1128"/>
                  </a:lnTo>
                  <a:lnTo>
                    <a:pt x="156" y="1131"/>
                  </a:lnTo>
                  <a:lnTo>
                    <a:pt x="170" y="1134"/>
                  </a:lnTo>
                  <a:lnTo>
                    <a:pt x="183" y="1136"/>
                  </a:lnTo>
                  <a:lnTo>
                    <a:pt x="196" y="1137"/>
                  </a:lnTo>
                  <a:lnTo>
                    <a:pt x="210" y="1137"/>
                  </a:lnTo>
                  <a:lnTo>
                    <a:pt x="231" y="1137"/>
                  </a:lnTo>
                  <a:lnTo>
                    <a:pt x="250" y="1135"/>
                  </a:lnTo>
                  <a:lnTo>
                    <a:pt x="268" y="1132"/>
                  </a:lnTo>
                  <a:lnTo>
                    <a:pt x="285" y="1127"/>
                  </a:lnTo>
                  <a:lnTo>
                    <a:pt x="300" y="1122"/>
                  </a:lnTo>
                  <a:lnTo>
                    <a:pt x="315" y="1115"/>
                  </a:lnTo>
                  <a:lnTo>
                    <a:pt x="329" y="1107"/>
                  </a:lnTo>
                  <a:lnTo>
                    <a:pt x="343" y="1098"/>
                  </a:lnTo>
                  <a:lnTo>
                    <a:pt x="355" y="1088"/>
                  </a:lnTo>
                  <a:lnTo>
                    <a:pt x="367" y="1078"/>
                  </a:lnTo>
                  <a:lnTo>
                    <a:pt x="378" y="1066"/>
                  </a:lnTo>
                  <a:lnTo>
                    <a:pt x="389" y="1053"/>
                  </a:lnTo>
                  <a:lnTo>
                    <a:pt x="399" y="1038"/>
                  </a:lnTo>
                  <a:lnTo>
                    <a:pt x="408" y="1023"/>
                  </a:lnTo>
                  <a:lnTo>
                    <a:pt x="418" y="1008"/>
                  </a:lnTo>
                  <a:lnTo>
                    <a:pt x="427" y="992"/>
                  </a:lnTo>
                  <a:lnTo>
                    <a:pt x="403" y="1121"/>
                  </a:lnTo>
                  <a:lnTo>
                    <a:pt x="516" y="1121"/>
                  </a:lnTo>
                  <a:lnTo>
                    <a:pt x="73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  <a:cs typeface="+mn-cs"/>
              </a:endParaRPr>
            </a:p>
          </p:txBody>
        </p:sp>
        <p:sp>
          <p:nvSpPr>
            <p:cNvPr id="42" name="Freeform 39"/>
            <p:cNvSpPr>
              <a:spLocks/>
            </p:cNvSpPr>
            <p:nvPr/>
          </p:nvSpPr>
          <p:spPr bwMode="gray">
            <a:xfrm>
              <a:off x="3951288" y="3887788"/>
              <a:ext cx="38100" cy="33337"/>
            </a:xfrm>
            <a:custGeom>
              <a:avLst/>
              <a:gdLst/>
              <a:ahLst/>
              <a:cxnLst>
                <a:cxn ang="0">
                  <a:pos x="154" y="161"/>
                </a:cxn>
                <a:cxn ang="0">
                  <a:pos x="0" y="161"/>
                </a:cxn>
                <a:cxn ang="0">
                  <a:pos x="24" y="0"/>
                </a:cxn>
                <a:cxn ang="0">
                  <a:pos x="186" y="0"/>
                </a:cxn>
                <a:cxn ang="0">
                  <a:pos x="154" y="161"/>
                </a:cxn>
              </a:cxnLst>
              <a:rect l="0" t="0" r="r" b="b"/>
              <a:pathLst>
                <a:path w="186" h="161">
                  <a:moveTo>
                    <a:pt x="154" y="161"/>
                  </a:moveTo>
                  <a:lnTo>
                    <a:pt x="0" y="161"/>
                  </a:lnTo>
                  <a:lnTo>
                    <a:pt x="24" y="0"/>
                  </a:lnTo>
                  <a:lnTo>
                    <a:pt x="186" y="0"/>
                  </a:lnTo>
                  <a:lnTo>
                    <a:pt x="154" y="16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  <a:cs typeface="+mn-cs"/>
              </a:endParaRPr>
            </a:p>
          </p:txBody>
        </p:sp>
      </p:grpSp>
      <p:sp>
        <p:nvSpPr>
          <p:cNvPr id="43" name="AMC_Footer"/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525463" y="6513513"/>
            <a:ext cx="8367712" cy="211137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/>
          <a:lstStyle/>
          <a:p>
            <a:pPr>
              <a:defRPr/>
            </a:pPr>
            <a:r>
              <a:rPr lang="en-US" sz="900" dirty="0">
                <a:solidFill>
                  <a:schemeClr val="bg1"/>
                </a:solidFill>
                <a:latin typeface="+mn-lt"/>
                <a:cs typeface="Arial" pitchFamily="34" charset="0"/>
              </a:rPr>
              <a:t>Copyright © 2011 Accenture All Rights Reserved. Accenture, its logo, and High Performance Delivered are trademarks of Accenture.</a:t>
            </a:r>
            <a:endParaRPr lang="de-DE" sz="90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555873" y="4591472"/>
            <a:ext cx="6370637" cy="847303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46" name="Untertitel 2"/>
          <p:cNvSpPr>
            <a:spLocks noGrp="1"/>
          </p:cNvSpPr>
          <p:nvPr>
            <p:ph type="subTitle" idx="1"/>
          </p:nvPr>
        </p:nvSpPr>
        <p:spPr>
          <a:xfrm>
            <a:off x="2555873" y="5130998"/>
            <a:ext cx="6337301" cy="615553"/>
          </a:xfrm>
          <a:prstGeom prst="rect">
            <a:avLst/>
          </a:prstGeom>
          <a:ln w="9525"/>
        </p:spPr>
        <p:txBody>
          <a:bodyPr lIns="0" tIns="0" rIns="0" bIns="0"/>
          <a:lstStyle>
            <a:lvl1pPr marL="0" indent="0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  <a:defRPr lang="de-DE" sz="20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err="1" smtClean="0"/>
              <a:t>Formatvorlage</a:t>
            </a:r>
            <a:r>
              <a:rPr lang="en-US" noProof="0" dirty="0" smtClean="0"/>
              <a:t> des </a:t>
            </a:r>
            <a:r>
              <a:rPr lang="en-US" noProof="0" dirty="0" err="1" smtClean="0"/>
              <a:t>Untertitelmasters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/>
          </a:p>
        </p:txBody>
      </p:sp>
    </p:spTree>
  </p:cSld>
  <p:clrMapOvr>
    <a:masterClrMapping/>
  </p:clrMapOvr>
  <p:hf hdr="0" dt="0"/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 bwMode="gray">
          <a:xfrm>
            <a:off x="0" y="0"/>
            <a:ext cx="9144000" cy="1333500"/>
          </a:xfrm>
          <a:prstGeom prst="rect">
            <a:avLst/>
          </a:prstGeom>
          <a:solidFill>
            <a:schemeClr val="tx2"/>
          </a:solidFill>
          <a:ln w="6350">
            <a:noFill/>
            <a:miter lim="800000"/>
            <a:headEnd/>
            <a:tailEnd/>
          </a:ln>
          <a:effectLst/>
        </p:spPr>
        <p:txBody>
          <a:bodyPr lIns="72000" tIns="72000" rIns="72000" bIns="72000"/>
          <a:lstStyle/>
          <a:p>
            <a:pPr>
              <a:spcBef>
                <a:spcPts val="0"/>
              </a:spcBef>
              <a:spcAft>
                <a:spcPts val="300"/>
              </a:spcAft>
              <a:defRPr/>
            </a:pPr>
            <a:endParaRPr lang="en-US" sz="1600" ker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27" name="Titelplatzhalter 11"/>
          <p:cNvSpPr>
            <a:spLocks noGrp="1"/>
          </p:cNvSpPr>
          <p:nvPr>
            <p:ph type="title"/>
          </p:nvPr>
        </p:nvSpPr>
        <p:spPr bwMode="auto">
          <a:xfrm>
            <a:off x="250825" y="0"/>
            <a:ext cx="8642350" cy="13239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72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Titelmasterformat durch Klicken bearbeiten</a:t>
            </a:r>
          </a:p>
        </p:txBody>
      </p:sp>
      <p:sp>
        <p:nvSpPr>
          <p:cNvPr id="11" name="AMC_Footer"/>
          <p:cNvSpPr txBox="1">
            <a:spLocks/>
          </p:cNvSpPr>
          <p:nvPr/>
        </p:nvSpPr>
        <p:spPr>
          <a:xfrm>
            <a:off x="250825" y="6569075"/>
            <a:ext cx="5005388" cy="227013"/>
          </a:xfrm>
          <a:prstGeom prst="rect">
            <a:avLst/>
          </a:prstGeom>
        </p:spPr>
        <p:txBody>
          <a:bodyPr lIns="0" tIns="3600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>
              <a:defRPr/>
            </a:pPr>
            <a:r>
              <a:rPr lang="en-US" sz="800" dirty="0" smtClean="0">
                <a:solidFill>
                  <a:prstClr val="black"/>
                </a:solidFill>
                <a:latin typeface="+mn-lt"/>
                <a:cs typeface="Arial" pitchFamily="34" charset="0"/>
              </a:rPr>
              <a:t>Copyright © </a:t>
            </a:r>
            <a:r>
              <a:rPr lang="en-US" sz="800" dirty="0" smtClean="0">
                <a:latin typeface="+mn-lt"/>
                <a:cs typeface="Arial" pitchFamily="34" charset="0"/>
              </a:rPr>
              <a:t>2011</a:t>
            </a:r>
            <a:r>
              <a:rPr lang="en-US" sz="800" dirty="0" smtClean="0">
                <a:solidFill>
                  <a:prstClr val="black"/>
                </a:solidFill>
                <a:latin typeface="+mn-lt"/>
                <a:cs typeface="Arial" pitchFamily="34" charset="0"/>
              </a:rPr>
              <a:t> Accenture. All rights reserved.</a:t>
            </a:r>
            <a:endParaRPr lang="en-US" sz="800" dirty="0">
              <a:solidFill>
                <a:prstClr val="black"/>
              </a:solidFill>
              <a:latin typeface="+mn-lt"/>
              <a:cs typeface="Arial" pitchFamily="34" charset="0"/>
            </a:endParaRPr>
          </a:p>
        </p:txBody>
      </p:sp>
      <p:sp>
        <p:nvSpPr>
          <p:cNvPr id="13" name="Inhaltsplatzhalter 13"/>
          <p:cNvSpPr txBox="1">
            <a:spLocks/>
          </p:cNvSpPr>
          <p:nvPr/>
        </p:nvSpPr>
        <p:spPr>
          <a:xfrm>
            <a:off x="8496300" y="6569075"/>
            <a:ext cx="396875" cy="227013"/>
          </a:xfrm>
          <a:prstGeom prst="rect">
            <a:avLst/>
          </a:prstGeom>
        </p:spPr>
        <p:txBody>
          <a:bodyPr lIns="0" tIns="3600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algn="r">
              <a:defRPr/>
            </a:pPr>
            <a:fld id="{2054DFD4-C65A-4A1D-9650-D742596FADED}" type="slidenum">
              <a:rPr lang="en-US" sz="800" smtClean="0">
                <a:solidFill>
                  <a:prstClr val="black"/>
                </a:solidFill>
                <a:latin typeface="+mn-lt"/>
                <a:cs typeface="Arial" pitchFamily="34" charset="0"/>
              </a:rPr>
              <a:pPr algn="r">
                <a:defRPr/>
              </a:pPr>
              <a:t>‹Nr.›</a:t>
            </a:fld>
            <a:endParaRPr lang="en-US" sz="800" dirty="0">
              <a:solidFill>
                <a:prstClr val="black"/>
              </a:solidFill>
              <a:latin typeface="+mn-lt"/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2" r:id="rId1"/>
    <p:sldLayoutId id="2147483651" r:id="rId2"/>
    <p:sldLayoutId id="2147483653" r:id="rId3"/>
  </p:sldLayoutIdLst>
  <p:timing>
    <p:tnLst>
      <p:par>
        <p:cTn id="1" dur="indefinite" restart="never" nodeType="tmRoot"/>
      </p:par>
    </p:tnLst>
  </p:timing>
  <p:hf hdr="0" dt="0"/>
  <p:txStyles>
    <p:titleStyle>
      <a:lvl1pPr algn="l" rtl="0" fontAlgn="base">
        <a:spcBef>
          <a:spcPct val="0"/>
        </a:spcBef>
        <a:spcAft>
          <a:spcPct val="0"/>
        </a:spcAft>
        <a:defRPr lang="de-DE" sz="2400" b="1" kern="1200" dirty="0">
          <a:solidFill>
            <a:srgbClr val="FFFFFF"/>
          </a:solidFill>
          <a:latin typeface="Arial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400" b="1">
          <a:solidFill>
            <a:srgbClr val="FFFFFF"/>
          </a:solidFill>
          <a:latin typeface="Arial" charset="0"/>
        </a:defRPr>
      </a:lvl2pPr>
      <a:lvl3pPr algn="l" rtl="0" fontAlgn="base">
        <a:spcBef>
          <a:spcPct val="0"/>
        </a:spcBef>
        <a:spcAft>
          <a:spcPct val="0"/>
        </a:spcAft>
        <a:defRPr sz="2400" b="1">
          <a:solidFill>
            <a:srgbClr val="FFFFFF"/>
          </a:solidFill>
          <a:latin typeface="Arial" charset="0"/>
        </a:defRPr>
      </a:lvl3pPr>
      <a:lvl4pPr algn="l" rtl="0" fontAlgn="base">
        <a:spcBef>
          <a:spcPct val="0"/>
        </a:spcBef>
        <a:spcAft>
          <a:spcPct val="0"/>
        </a:spcAft>
        <a:defRPr sz="2400" b="1">
          <a:solidFill>
            <a:srgbClr val="FFFFFF"/>
          </a:solidFill>
          <a:latin typeface="Arial" charset="0"/>
        </a:defRPr>
      </a:lvl4pPr>
      <a:lvl5pPr algn="l" rtl="0" fontAlgn="base">
        <a:spcBef>
          <a:spcPct val="0"/>
        </a:spcBef>
        <a:spcAft>
          <a:spcPct val="0"/>
        </a:spcAft>
        <a:defRPr sz="2400" b="1">
          <a:solidFill>
            <a:srgbClr val="FFFFFF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9pPr>
    </p:titleStyle>
    <p:bodyStyle>
      <a:lvl1pPr marL="174625" indent="-174625" algn="l" rtl="0" eaLnBrk="0" fontAlgn="base" hangingPunct="0">
        <a:spcBef>
          <a:spcPts val="300"/>
        </a:spcBef>
        <a:spcAft>
          <a:spcPts val="30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3538" indent="-188913" algn="l" rtl="0" eaLnBrk="0" fontAlgn="base" hangingPunct="0">
        <a:spcBef>
          <a:spcPts val="300"/>
        </a:spcBef>
        <a:spcAft>
          <a:spcPts val="300"/>
        </a:spcAft>
        <a:buFont typeface="Arial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8163" indent="-174625" algn="l" rtl="0" eaLnBrk="0" fontAlgn="base" hangingPunct="0">
        <a:spcBef>
          <a:spcPts val="300"/>
        </a:spcBef>
        <a:spcAft>
          <a:spcPts val="300"/>
        </a:spcAft>
        <a:buFont typeface="Arial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712788" indent="-174625" algn="l" rtl="0" eaLnBrk="0" fontAlgn="base" hangingPunct="0">
        <a:spcBef>
          <a:spcPts val="300"/>
        </a:spcBef>
        <a:spcAft>
          <a:spcPts val="300"/>
        </a:spcAft>
        <a:buFont typeface="Arial" charset="0"/>
        <a:buChar char="–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901700" indent="-188913" algn="l" rtl="0" eaLnBrk="0" fontAlgn="base" hangingPunct="0">
        <a:spcBef>
          <a:spcPts val="300"/>
        </a:spcBef>
        <a:spcAft>
          <a:spcPts val="300"/>
        </a:spcAft>
        <a:buFont typeface="Arial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83.xml"/><Relationship Id="rId13" Type="http://schemas.openxmlformats.org/officeDocument/2006/relationships/tags" Target="../tags/tag88.xml"/><Relationship Id="rId18" Type="http://schemas.openxmlformats.org/officeDocument/2006/relationships/tags" Target="../tags/tag93.xml"/><Relationship Id="rId26" Type="http://schemas.openxmlformats.org/officeDocument/2006/relationships/slideLayout" Target="../slideLayouts/slideLayout2.xml"/><Relationship Id="rId3" Type="http://schemas.openxmlformats.org/officeDocument/2006/relationships/tags" Target="../tags/tag78.xml"/><Relationship Id="rId21" Type="http://schemas.openxmlformats.org/officeDocument/2006/relationships/tags" Target="../tags/tag96.xml"/><Relationship Id="rId7" Type="http://schemas.openxmlformats.org/officeDocument/2006/relationships/tags" Target="../tags/tag82.xml"/><Relationship Id="rId12" Type="http://schemas.openxmlformats.org/officeDocument/2006/relationships/tags" Target="../tags/tag87.xml"/><Relationship Id="rId17" Type="http://schemas.openxmlformats.org/officeDocument/2006/relationships/tags" Target="../tags/tag92.xml"/><Relationship Id="rId25" Type="http://schemas.openxmlformats.org/officeDocument/2006/relationships/tags" Target="../tags/tag100.xml"/><Relationship Id="rId2" Type="http://schemas.openxmlformats.org/officeDocument/2006/relationships/tags" Target="../tags/tag77.xml"/><Relationship Id="rId16" Type="http://schemas.openxmlformats.org/officeDocument/2006/relationships/tags" Target="../tags/tag91.xml"/><Relationship Id="rId20" Type="http://schemas.openxmlformats.org/officeDocument/2006/relationships/tags" Target="../tags/tag95.xml"/><Relationship Id="rId29" Type="http://schemas.openxmlformats.org/officeDocument/2006/relationships/oleObject" Target="../embeddings/oleObject8.bin"/><Relationship Id="rId1" Type="http://schemas.openxmlformats.org/officeDocument/2006/relationships/vmlDrawing" Target="../drawings/vmlDrawing7.vml"/><Relationship Id="rId6" Type="http://schemas.openxmlformats.org/officeDocument/2006/relationships/tags" Target="../tags/tag81.xml"/><Relationship Id="rId11" Type="http://schemas.openxmlformats.org/officeDocument/2006/relationships/tags" Target="../tags/tag86.xml"/><Relationship Id="rId24" Type="http://schemas.openxmlformats.org/officeDocument/2006/relationships/tags" Target="../tags/tag99.xml"/><Relationship Id="rId5" Type="http://schemas.openxmlformats.org/officeDocument/2006/relationships/tags" Target="../tags/tag80.xml"/><Relationship Id="rId15" Type="http://schemas.openxmlformats.org/officeDocument/2006/relationships/tags" Target="../tags/tag90.xml"/><Relationship Id="rId23" Type="http://schemas.openxmlformats.org/officeDocument/2006/relationships/tags" Target="../tags/tag98.xml"/><Relationship Id="rId28" Type="http://schemas.openxmlformats.org/officeDocument/2006/relationships/oleObject" Target="../embeddings/oleObject7.bin"/><Relationship Id="rId10" Type="http://schemas.openxmlformats.org/officeDocument/2006/relationships/tags" Target="../tags/tag85.xml"/><Relationship Id="rId19" Type="http://schemas.openxmlformats.org/officeDocument/2006/relationships/tags" Target="../tags/tag94.xml"/><Relationship Id="rId4" Type="http://schemas.openxmlformats.org/officeDocument/2006/relationships/tags" Target="../tags/tag79.xml"/><Relationship Id="rId9" Type="http://schemas.openxmlformats.org/officeDocument/2006/relationships/tags" Target="../tags/tag84.xml"/><Relationship Id="rId14" Type="http://schemas.openxmlformats.org/officeDocument/2006/relationships/tags" Target="../tags/tag89.xml"/><Relationship Id="rId22" Type="http://schemas.openxmlformats.org/officeDocument/2006/relationships/tags" Target="../tags/tag97.xml"/><Relationship Id="rId27" Type="http://schemas.openxmlformats.org/officeDocument/2006/relationships/notesSlide" Target="../notesSlides/notesSlide7.xml"/></Relationships>
</file>

<file path=ppt/slides/_rels/slide11.xml.rels><?xml version="1.0" encoding="UTF-8" standalone="yes"?>
<Relationships xmlns="http://schemas.openxmlformats.org/package/2006/relationships"><Relationship Id="rId26" Type="http://schemas.openxmlformats.org/officeDocument/2006/relationships/image" Target="../media/image33.png"/><Relationship Id="rId117" Type="http://schemas.openxmlformats.org/officeDocument/2006/relationships/image" Target="../media/image124.png"/><Relationship Id="rId21" Type="http://schemas.openxmlformats.org/officeDocument/2006/relationships/image" Target="../media/image28.png"/><Relationship Id="rId42" Type="http://schemas.openxmlformats.org/officeDocument/2006/relationships/image" Target="../media/image49.png"/><Relationship Id="rId47" Type="http://schemas.openxmlformats.org/officeDocument/2006/relationships/image" Target="../media/image54.png"/><Relationship Id="rId63" Type="http://schemas.openxmlformats.org/officeDocument/2006/relationships/image" Target="../media/image70.png"/><Relationship Id="rId68" Type="http://schemas.openxmlformats.org/officeDocument/2006/relationships/image" Target="../media/image75.png"/><Relationship Id="rId84" Type="http://schemas.openxmlformats.org/officeDocument/2006/relationships/image" Target="../media/image91.png"/><Relationship Id="rId89" Type="http://schemas.openxmlformats.org/officeDocument/2006/relationships/image" Target="../media/image96.png"/><Relationship Id="rId112" Type="http://schemas.openxmlformats.org/officeDocument/2006/relationships/image" Target="../media/image119.png"/><Relationship Id="rId16" Type="http://schemas.openxmlformats.org/officeDocument/2006/relationships/image" Target="../media/image23.png"/><Relationship Id="rId107" Type="http://schemas.openxmlformats.org/officeDocument/2006/relationships/image" Target="../media/image114.png"/><Relationship Id="rId11" Type="http://schemas.openxmlformats.org/officeDocument/2006/relationships/image" Target="../media/image18.png"/><Relationship Id="rId24" Type="http://schemas.openxmlformats.org/officeDocument/2006/relationships/image" Target="../media/image31.png"/><Relationship Id="rId32" Type="http://schemas.openxmlformats.org/officeDocument/2006/relationships/image" Target="../media/image39.png"/><Relationship Id="rId37" Type="http://schemas.openxmlformats.org/officeDocument/2006/relationships/image" Target="../media/image44.png"/><Relationship Id="rId40" Type="http://schemas.openxmlformats.org/officeDocument/2006/relationships/image" Target="../media/image47.png"/><Relationship Id="rId45" Type="http://schemas.openxmlformats.org/officeDocument/2006/relationships/image" Target="../media/image52.png"/><Relationship Id="rId53" Type="http://schemas.openxmlformats.org/officeDocument/2006/relationships/image" Target="../media/image60.png"/><Relationship Id="rId58" Type="http://schemas.openxmlformats.org/officeDocument/2006/relationships/image" Target="../media/image65.png"/><Relationship Id="rId66" Type="http://schemas.openxmlformats.org/officeDocument/2006/relationships/image" Target="../media/image73.png"/><Relationship Id="rId74" Type="http://schemas.openxmlformats.org/officeDocument/2006/relationships/image" Target="../media/image81.png"/><Relationship Id="rId79" Type="http://schemas.openxmlformats.org/officeDocument/2006/relationships/image" Target="../media/image86.png"/><Relationship Id="rId87" Type="http://schemas.openxmlformats.org/officeDocument/2006/relationships/image" Target="../media/image94.png"/><Relationship Id="rId102" Type="http://schemas.openxmlformats.org/officeDocument/2006/relationships/image" Target="../media/image109.png"/><Relationship Id="rId110" Type="http://schemas.openxmlformats.org/officeDocument/2006/relationships/image" Target="../media/image117.png"/><Relationship Id="rId115" Type="http://schemas.openxmlformats.org/officeDocument/2006/relationships/image" Target="../media/image122.png"/><Relationship Id="rId5" Type="http://schemas.openxmlformats.org/officeDocument/2006/relationships/tags" Target="../tags/tag104.xml"/><Relationship Id="rId61" Type="http://schemas.openxmlformats.org/officeDocument/2006/relationships/image" Target="../media/image68.png"/><Relationship Id="rId82" Type="http://schemas.openxmlformats.org/officeDocument/2006/relationships/image" Target="../media/image89.png"/><Relationship Id="rId90" Type="http://schemas.openxmlformats.org/officeDocument/2006/relationships/image" Target="../media/image97.png"/><Relationship Id="rId95" Type="http://schemas.openxmlformats.org/officeDocument/2006/relationships/image" Target="../media/image102.png"/><Relationship Id="rId19" Type="http://schemas.openxmlformats.org/officeDocument/2006/relationships/image" Target="../media/image26.png"/><Relationship Id="rId14" Type="http://schemas.openxmlformats.org/officeDocument/2006/relationships/image" Target="../media/image21.png"/><Relationship Id="rId22" Type="http://schemas.openxmlformats.org/officeDocument/2006/relationships/image" Target="../media/image29.png"/><Relationship Id="rId27" Type="http://schemas.openxmlformats.org/officeDocument/2006/relationships/image" Target="../media/image34.png"/><Relationship Id="rId30" Type="http://schemas.openxmlformats.org/officeDocument/2006/relationships/image" Target="../media/image37.png"/><Relationship Id="rId35" Type="http://schemas.openxmlformats.org/officeDocument/2006/relationships/image" Target="../media/image42.png"/><Relationship Id="rId43" Type="http://schemas.openxmlformats.org/officeDocument/2006/relationships/image" Target="../media/image50.png"/><Relationship Id="rId48" Type="http://schemas.openxmlformats.org/officeDocument/2006/relationships/image" Target="../media/image55.png"/><Relationship Id="rId56" Type="http://schemas.openxmlformats.org/officeDocument/2006/relationships/image" Target="../media/image63.png"/><Relationship Id="rId64" Type="http://schemas.openxmlformats.org/officeDocument/2006/relationships/image" Target="../media/image71.png"/><Relationship Id="rId69" Type="http://schemas.openxmlformats.org/officeDocument/2006/relationships/image" Target="../media/image76.png"/><Relationship Id="rId77" Type="http://schemas.openxmlformats.org/officeDocument/2006/relationships/image" Target="../media/image84.png"/><Relationship Id="rId100" Type="http://schemas.openxmlformats.org/officeDocument/2006/relationships/image" Target="../media/image107.png"/><Relationship Id="rId105" Type="http://schemas.openxmlformats.org/officeDocument/2006/relationships/image" Target="../media/image112.png"/><Relationship Id="rId113" Type="http://schemas.openxmlformats.org/officeDocument/2006/relationships/image" Target="../media/image120.png"/><Relationship Id="rId118" Type="http://schemas.openxmlformats.org/officeDocument/2006/relationships/image" Target="../media/image125.png"/><Relationship Id="rId8" Type="http://schemas.openxmlformats.org/officeDocument/2006/relationships/slideLayout" Target="../slideLayouts/slideLayout2.xml"/><Relationship Id="rId51" Type="http://schemas.openxmlformats.org/officeDocument/2006/relationships/image" Target="../media/image58.png"/><Relationship Id="rId72" Type="http://schemas.openxmlformats.org/officeDocument/2006/relationships/image" Target="../media/image79.png"/><Relationship Id="rId80" Type="http://schemas.openxmlformats.org/officeDocument/2006/relationships/image" Target="../media/image87.png"/><Relationship Id="rId85" Type="http://schemas.openxmlformats.org/officeDocument/2006/relationships/image" Target="../media/image92.png"/><Relationship Id="rId93" Type="http://schemas.openxmlformats.org/officeDocument/2006/relationships/image" Target="../media/image100.png"/><Relationship Id="rId98" Type="http://schemas.openxmlformats.org/officeDocument/2006/relationships/image" Target="../media/image105.png"/><Relationship Id="rId3" Type="http://schemas.openxmlformats.org/officeDocument/2006/relationships/tags" Target="../tags/tag102.xml"/><Relationship Id="rId12" Type="http://schemas.openxmlformats.org/officeDocument/2006/relationships/image" Target="../media/image19.png"/><Relationship Id="rId17" Type="http://schemas.openxmlformats.org/officeDocument/2006/relationships/image" Target="../media/image24.png"/><Relationship Id="rId25" Type="http://schemas.openxmlformats.org/officeDocument/2006/relationships/image" Target="../media/image32.png"/><Relationship Id="rId33" Type="http://schemas.openxmlformats.org/officeDocument/2006/relationships/image" Target="../media/image40.png"/><Relationship Id="rId38" Type="http://schemas.openxmlformats.org/officeDocument/2006/relationships/image" Target="../media/image45.png"/><Relationship Id="rId46" Type="http://schemas.openxmlformats.org/officeDocument/2006/relationships/image" Target="../media/image53.png"/><Relationship Id="rId59" Type="http://schemas.openxmlformats.org/officeDocument/2006/relationships/image" Target="../media/image66.png"/><Relationship Id="rId67" Type="http://schemas.openxmlformats.org/officeDocument/2006/relationships/image" Target="../media/image74.png"/><Relationship Id="rId103" Type="http://schemas.openxmlformats.org/officeDocument/2006/relationships/image" Target="../media/image110.png"/><Relationship Id="rId108" Type="http://schemas.openxmlformats.org/officeDocument/2006/relationships/image" Target="../media/image115.png"/><Relationship Id="rId116" Type="http://schemas.openxmlformats.org/officeDocument/2006/relationships/image" Target="../media/image123.png"/><Relationship Id="rId20" Type="http://schemas.openxmlformats.org/officeDocument/2006/relationships/image" Target="../media/image27.png"/><Relationship Id="rId41" Type="http://schemas.openxmlformats.org/officeDocument/2006/relationships/image" Target="../media/image48.png"/><Relationship Id="rId54" Type="http://schemas.openxmlformats.org/officeDocument/2006/relationships/image" Target="../media/image61.png"/><Relationship Id="rId62" Type="http://schemas.openxmlformats.org/officeDocument/2006/relationships/image" Target="../media/image69.png"/><Relationship Id="rId70" Type="http://schemas.openxmlformats.org/officeDocument/2006/relationships/image" Target="../media/image77.png"/><Relationship Id="rId75" Type="http://schemas.openxmlformats.org/officeDocument/2006/relationships/image" Target="../media/image82.png"/><Relationship Id="rId83" Type="http://schemas.openxmlformats.org/officeDocument/2006/relationships/image" Target="../media/image90.png"/><Relationship Id="rId88" Type="http://schemas.openxmlformats.org/officeDocument/2006/relationships/image" Target="../media/image95.png"/><Relationship Id="rId91" Type="http://schemas.openxmlformats.org/officeDocument/2006/relationships/image" Target="../media/image98.png"/><Relationship Id="rId96" Type="http://schemas.openxmlformats.org/officeDocument/2006/relationships/image" Target="../media/image103.png"/><Relationship Id="rId111" Type="http://schemas.openxmlformats.org/officeDocument/2006/relationships/image" Target="../media/image118.png"/><Relationship Id="rId1" Type="http://schemas.openxmlformats.org/officeDocument/2006/relationships/vmlDrawing" Target="../drawings/vmlDrawing8.vml"/><Relationship Id="rId6" Type="http://schemas.openxmlformats.org/officeDocument/2006/relationships/tags" Target="../tags/tag105.xml"/><Relationship Id="rId15" Type="http://schemas.openxmlformats.org/officeDocument/2006/relationships/image" Target="../media/image22.png"/><Relationship Id="rId23" Type="http://schemas.openxmlformats.org/officeDocument/2006/relationships/image" Target="../media/image30.png"/><Relationship Id="rId28" Type="http://schemas.openxmlformats.org/officeDocument/2006/relationships/image" Target="../media/image35.png"/><Relationship Id="rId36" Type="http://schemas.openxmlformats.org/officeDocument/2006/relationships/image" Target="../media/image43.png"/><Relationship Id="rId49" Type="http://schemas.openxmlformats.org/officeDocument/2006/relationships/image" Target="../media/image56.png"/><Relationship Id="rId57" Type="http://schemas.openxmlformats.org/officeDocument/2006/relationships/image" Target="../media/image64.png"/><Relationship Id="rId106" Type="http://schemas.openxmlformats.org/officeDocument/2006/relationships/image" Target="../media/image113.png"/><Relationship Id="rId114" Type="http://schemas.openxmlformats.org/officeDocument/2006/relationships/image" Target="../media/image121.png"/><Relationship Id="rId119" Type="http://schemas.openxmlformats.org/officeDocument/2006/relationships/image" Target="../media/image126.png"/><Relationship Id="rId10" Type="http://schemas.openxmlformats.org/officeDocument/2006/relationships/oleObject" Target="../embeddings/oleObject9.bin"/><Relationship Id="rId31" Type="http://schemas.openxmlformats.org/officeDocument/2006/relationships/image" Target="../media/image38.png"/><Relationship Id="rId44" Type="http://schemas.openxmlformats.org/officeDocument/2006/relationships/image" Target="../media/image51.png"/><Relationship Id="rId52" Type="http://schemas.openxmlformats.org/officeDocument/2006/relationships/image" Target="../media/image59.png"/><Relationship Id="rId60" Type="http://schemas.openxmlformats.org/officeDocument/2006/relationships/image" Target="../media/image67.png"/><Relationship Id="rId65" Type="http://schemas.openxmlformats.org/officeDocument/2006/relationships/image" Target="../media/image72.png"/><Relationship Id="rId73" Type="http://schemas.openxmlformats.org/officeDocument/2006/relationships/image" Target="../media/image80.png"/><Relationship Id="rId78" Type="http://schemas.openxmlformats.org/officeDocument/2006/relationships/image" Target="../media/image85.png"/><Relationship Id="rId81" Type="http://schemas.openxmlformats.org/officeDocument/2006/relationships/image" Target="../media/image88.png"/><Relationship Id="rId86" Type="http://schemas.openxmlformats.org/officeDocument/2006/relationships/image" Target="../media/image93.png"/><Relationship Id="rId94" Type="http://schemas.openxmlformats.org/officeDocument/2006/relationships/image" Target="../media/image101.png"/><Relationship Id="rId99" Type="http://schemas.openxmlformats.org/officeDocument/2006/relationships/image" Target="../media/image106.png"/><Relationship Id="rId101" Type="http://schemas.openxmlformats.org/officeDocument/2006/relationships/image" Target="../media/image108.png"/><Relationship Id="rId4" Type="http://schemas.openxmlformats.org/officeDocument/2006/relationships/tags" Target="../tags/tag103.xml"/><Relationship Id="rId9" Type="http://schemas.openxmlformats.org/officeDocument/2006/relationships/notesSlide" Target="../notesSlides/notesSlide8.xml"/><Relationship Id="rId13" Type="http://schemas.openxmlformats.org/officeDocument/2006/relationships/image" Target="../media/image20.png"/><Relationship Id="rId18" Type="http://schemas.openxmlformats.org/officeDocument/2006/relationships/image" Target="../media/image25.png"/><Relationship Id="rId39" Type="http://schemas.openxmlformats.org/officeDocument/2006/relationships/image" Target="../media/image46.png"/><Relationship Id="rId109" Type="http://schemas.openxmlformats.org/officeDocument/2006/relationships/image" Target="../media/image116.png"/><Relationship Id="rId34" Type="http://schemas.openxmlformats.org/officeDocument/2006/relationships/image" Target="../media/image41.png"/><Relationship Id="rId50" Type="http://schemas.openxmlformats.org/officeDocument/2006/relationships/image" Target="../media/image57.png"/><Relationship Id="rId55" Type="http://schemas.openxmlformats.org/officeDocument/2006/relationships/image" Target="../media/image62.png"/><Relationship Id="rId76" Type="http://schemas.openxmlformats.org/officeDocument/2006/relationships/image" Target="../media/image83.png"/><Relationship Id="rId97" Type="http://schemas.openxmlformats.org/officeDocument/2006/relationships/image" Target="../media/image104.png"/><Relationship Id="rId104" Type="http://schemas.openxmlformats.org/officeDocument/2006/relationships/image" Target="../media/image111.png"/><Relationship Id="rId120" Type="http://schemas.openxmlformats.org/officeDocument/2006/relationships/image" Target="../media/image127.png"/><Relationship Id="rId7" Type="http://schemas.openxmlformats.org/officeDocument/2006/relationships/tags" Target="../tags/tag106.xml"/><Relationship Id="rId71" Type="http://schemas.openxmlformats.org/officeDocument/2006/relationships/image" Target="../media/image78.png"/><Relationship Id="rId92" Type="http://schemas.openxmlformats.org/officeDocument/2006/relationships/image" Target="../media/image99.png"/><Relationship Id="rId2" Type="http://schemas.openxmlformats.org/officeDocument/2006/relationships/tags" Target="../tags/tag101.xml"/><Relationship Id="rId29" Type="http://schemas.openxmlformats.org/officeDocument/2006/relationships/image" Target="../media/image36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8.png"/><Relationship Id="rId3" Type="http://schemas.openxmlformats.org/officeDocument/2006/relationships/tags" Target="../tags/tag108.xml"/><Relationship Id="rId7" Type="http://schemas.openxmlformats.org/officeDocument/2006/relationships/oleObject" Target="../embeddings/oleObject10.bin"/><Relationship Id="rId2" Type="http://schemas.openxmlformats.org/officeDocument/2006/relationships/tags" Target="../tags/tag107.xml"/><Relationship Id="rId1" Type="http://schemas.openxmlformats.org/officeDocument/2006/relationships/vmlDrawing" Target="../drawings/vmlDrawing9.vml"/><Relationship Id="rId6" Type="http://schemas.openxmlformats.org/officeDocument/2006/relationships/notesSlide" Target="../notesSlides/notesSlide9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0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" Type="http://schemas.openxmlformats.org/officeDocument/2006/relationships/video" Target="file:///C:\Dokumente%20und%20Einstellungen\Trainer\Desktop\J11220_Acc_Mobility_Summit_v1.wmv" TargetMode="Externa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8.xml"/><Relationship Id="rId7" Type="http://schemas.openxmlformats.org/officeDocument/2006/relationships/chart" Target="../charts/chart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10.xml"/><Relationship Id="rId10" Type="http://schemas.openxmlformats.org/officeDocument/2006/relationships/image" Target="../media/image6.png"/><Relationship Id="rId4" Type="http://schemas.openxmlformats.org/officeDocument/2006/relationships/tags" Target="../tags/tag9.xml"/><Relationship Id="rId9" Type="http://schemas.openxmlformats.org/officeDocument/2006/relationships/image" Target="../media/image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4" Type="http://schemas.openxmlformats.org/officeDocument/2006/relationships/image" Target="../media/image7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18.xml"/><Relationship Id="rId13" Type="http://schemas.openxmlformats.org/officeDocument/2006/relationships/tags" Target="../tags/tag23.xml"/><Relationship Id="rId18" Type="http://schemas.openxmlformats.org/officeDocument/2006/relationships/tags" Target="../tags/tag28.xml"/><Relationship Id="rId26" Type="http://schemas.openxmlformats.org/officeDocument/2006/relationships/notesSlide" Target="../notesSlides/notesSlide3.xml"/><Relationship Id="rId3" Type="http://schemas.openxmlformats.org/officeDocument/2006/relationships/tags" Target="../tags/tag13.xml"/><Relationship Id="rId21" Type="http://schemas.openxmlformats.org/officeDocument/2006/relationships/tags" Target="../tags/tag31.xml"/><Relationship Id="rId7" Type="http://schemas.openxmlformats.org/officeDocument/2006/relationships/tags" Target="../tags/tag17.xml"/><Relationship Id="rId12" Type="http://schemas.openxmlformats.org/officeDocument/2006/relationships/tags" Target="../tags/tag22.xml"/><Relationship Id="rId17" Type="http://schemas.openxmlformats.org/officeDocument/2006/relationships/tags" Target="../tags/tag27.xml"/><Relationship Id="rId25" Type="http://schemas.openxmlformats.org/officeDocument/2006/relationships/slideLayout" Target="../slideLayouts/slideLayout2.xml"/><Relationship Id="rId2" Type="http://schemas.openxmlformats.org/officeDocument/2006/relationships/tags" Target="../tags/tag12.xml"/><Relationship Id="rId16" Type="http://schemas.openxmlformats.org/officeDocument/2006/relationships/tags" Target="../tags/tag26.xml"/><Relationship Id="rId20" Type="http://schemas.openxmlformats.org/officeDocument/2006/relationships/tags" Target="../tags/tag30.xml"/><Relationship Id="rId29" Type="http://schemas.openxmlformats.org/officeDocument/2006/relationships/image" Target="../media/image10.png"/><Relationship Id="rId1" Type="http://schemas.openxmlformats.org/officeDocument/2006/relationships/vmlDrawing" Target="../drawings/vmlDrawing3.vml"/><Relationship Id="rId6" Type="http://schemas.openxmlformats.org/officeDocument/2006/relationships/tags" Target="../tags/tag16.xml"/><Relationship Id="rId11" Type="http://schemas.openxmlformats.org/officeDocument/2006/relationships/tags" Target="../tags/tag21.xml"/><Relationship Id="rId24" Type="http://schemas.openxmlformats.org/officeDocument/2006/relationships/tags" Target="../tags/tag34.xml"/><Relationship Id="rId5" Type="http://schemas.openxmlformats.org/officeDocument/2006/relationships/tags" Target="../tags/tag15.xml"/><Relationship Id="rId15" Type="http://schemas.openxmlformats.org/officeDocument/2006/relationships/tags" Target="../tags/tag25.xml"/><Relationship Id="rId23" Type="http://schemas.openxmlformats.org/officeDocument/2006/relationships/tags" Target="../tags/tag33.xml"/><Relationship Id="rId28" Type="http://schemas.openxmlformats.org/officeDocument/2006/relationships/image" Target="../media/image9.png"/><Relationship Id="rId10" Type="http://schemas.openxmlformats.org/officeDocument/2006/relationships/tags" Target="../tags/tag20.xml"/><Relationship Id="rId19" Type="http://schemas.openxmlformats.org/officeDocument/2006/relationships/tags" Target="../tags/tag29.xml"/><Relationship Id="rId31" Type="http://schemas.openxmlformats.org/officeDocument/2006/relationships/image" Target="../media/image12.png"/><Relationship Id="rId4" Type="http://schemas.openxmlformats.org/officeDocument/2006/relationships/tags" Target="../tags/tag14.xml"/><Relationship Id="rId9" Type="http://schemas.openxmlformats.org/officeDocument/2006/relationships/tags" Target="../tags/tag19.xml"/><Relationship Id="rId14" Type="http://schemas.openxmlformats.org/officeDocument/2006/relationships/tags" Target="../tags/tag24.xml"/><Relationship Id="rId22" Type="http://schemas.openxmlformats.org/officeDocument/2006/relationships/tags" Target="../tags/tag32.xml"/><Relationship Id="rId27" Type="http://schemas.openxmlformats.org/officeDocument/2006/relationships/oleObject" Target="../embeddings/oleObject3.bin"/><Relationship Id="rId30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41.xml"/><Relationship Id="rId13" Type="http://schemas.openxmlformats.org/officeDocument/2006/relationships/tags" Target="../tags/tag46.xml"/><Relationship Id="rId18" Type="http://schemas.openxmlformats.org/officeDocument/2006/relationships/tags" Target="../tags/tag51.xml"/><Relationship Id="rId3" Type="http://schemas.openxmlformats.org/officeDocument/2006/relationships/tags" Target="../tags/tag36.xml"/><Relationship Id="rId21" Type="http://schemas.openxmlformats.org/officeDocument/2006/relationships/slideLayout" Target="../slideLayouts/slideLayout2.xml"/><Relationship Id="rId7" Type="http://schemas.openxmlformats.org/officeDocument/2006/relationships/tags" Target="../tags/tag40.xml"/><Relationship Id="rId12" Type="http://schemas.openxmlformats.org/officeDocument/2006/relationships/tags" Target="../tags/tag45.xml"/><Relationship Id="rId17" Type="http://schemas.openxmlformats.org/officeDocument/2006/relationships/tags" Target="../tags/tag50.xml"/><Relationship Id="rId2" Type="http://schemas.openxmlformats.org/officeDocument/2006/relationships/tags" Target="../tags/tag35.xml"/><Relationship Id="rId16" Type="http://schemas.openxmlformats.org/officeDocument/2006/relationships/tags" Target="../tags/tag49.xml"/><Relationship Id="rId20" Type="http://schemas.openxmlformats.org/officeDocument/2006/relationships/tags" Target="../tags/tag53.xml"/><Relationship Id="rId1" Type="http://schemas.openxmlformats.org/officeDocument/2006/relationships/vmlDrawing" Target="../drawings/vmlDrawing4.vml"/><Relationship Id="rId6" Type="http://schemas.openxmlformats.org/officeDocument/2006/relationships/tags" Target="../tags/tag39.xml"/><Relationship Id="rId11" Type="http://schemas.openxmlformats.org/officeDocument/2006/relationships/tags" Target="../tags/tag44.xml"/><Relationship Id="rId24" Type="http://schemas.openxmlformats.org/officeDocument/2006/relationships/chart" Target="../charts/chart2.xml"/><Relationship Id="rId5" Type="http://schemas.openxmlformats.org/officeDocument/2006/relationships/tags" Target="../tags/tag38.xml"/><Relationship Id="rId15" Type="http://schemas.openxmlformats.org/officeDocument/2006/relationships/tags" Target="../tags/tag48.xml"/><Relationship Id="rId23" Type="http://schemas.openxmlformats.org/officeDocument/2006/relationships/oleObject" Target="../embeddings/oleObject4.bin"/><Relationship Id="rId10" Type="http://schemas.openxmlformats.org/officeDocument/2006/relationships/tags" Target="../tags/tag43.xml"/><Relationship Id="rId19" Type="http://schemas.openxmlformats.org/officeDocument/2006/relationships/tags" Target="../tags/tag52.xml"/><Relationship Id="rId4" Type="http://schemas.openxmlformats.org/officeDocument/2006/relationships/tags" Target="../tags/tag37.xml"/><Relationship Id="rId9" Type="http://schemas.openxmlformats.org/officeDocument/2006/relationships/tags" Target="../tags/tag42.xml"/><Relationship Id="rId14" Type="http://schemas.openxmlformats.org/officeDocument/2006/relationships/tags" Target="../tags/tag47.xml"/><Relationship Id="rId22" Type="http://schemas.openxmlformats.org/officeDocument/2006/relationships/notesSlide" Target="../notesSlides/notesSlide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56.xml"/><Relationship Id="rId7" Type="http://schemas.openxmlformats.org/officeDocument/2006/relationships/image" Target="../media/image15.png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63.xml"/><Relationship Id="rId13" Type="http://schemas.openxmlformats.org/officeDocument/2006/relationships/tags" Target="../tags/tag68.xml"/><Relationship Id="rId18" Type="http://schemas.openxmlformats.org/officeDocument/2006/relationships/notesSlide" Target="../notesSlides/notesSlide5.xml"/><Relationship Id="rId3" Type="http://schemas.openxmlformats.org/officeDocument/2006/relationships/tags" Target="../tags/tag58.xml"/><Relationship Id="rId7" Type="http://schemas.openxmlformats.org/officeDocument/2006/relationships/tags" Target="../tags/tag62.xml"/><Relationship Id="rId12" Type="http://schemas.openxmlformats.org/officeDocument/2006/relationships/tags" Target="../tags/tag67.xml"/><Relationship Id="rId17" Type="http://schemas.openxmlformats.org/officeDocument/2006/relationships/slideLayout" Target="../slideLayouts/slideLayout2.xml"/><Relationship Id="rId2" Type="http://schemas.openxmlformats.org/officeDocument/2006/relationships/tags" Target="../tags/tag57.xml"/><Relationship Id="rId16" Type="http://schemas.openxmlformats.org/officeDocument/2006/relationships/tags" Target="../tags/tag71.xml"/><Relationship Id="rId20" Type="http://schemas.openxmlformats.org/officeDocument/2006/relationships/chart" Target="../charts/chart3.xml"/><Relationship Id="rId1" Type="http://schemas.openxmlformats.org/officeDocument/2006/relationships/vmlDrawing" Target="../drawings/vmlDrawing5.vml"/><Relationship Id="rId6" Type="http://schemas.openxmlformats.org/officeDocument/2006/relationships/tags" Target="../tags/tag61.xml"/><Relationship Id="rId11" Type="http://schemas.openxmlformats.org/officeDocument/2006/relationships/tags" Target="../tags/tag66.xml"/><Relationship Id="rId5" Type="http://schemas.openxmlformats.org/officeDocument/2006/relationships/tags" Target="../tags/tag60.xml"/><Relationship Id="rId15" Type="http://schemas.openxmlformats.org/officeDocument/2006/relationships/tags" Target="../tags/tag70.xml"/><Relationship Id="rId10" Type="http://schemas.openxmlformats.org/officeDocument/2006/relationships/tags" Target="../tags/tag65.xml"/><Relationship Id="rId19" Type="http://schemas.openxmlformats.org/officeDocument/2006/relationships/oleObject" Target="../embeddings/oleObject5.bin"/><Relationship Id="rId4" Type="http://schemas.openxmlformats.org/officeDocument/2006/relationships/tags" Target="../tags/tag59.xml"/><Relationship Id="rId9" Type="http://schemas.openxmlformats.org/officeDocument/2006/relationships/tags" Target="../tags/tag64.xml"/><Relationship Id="rId14" Type="http://schemas.openxmlformats.org/officeDocument/2006/relationships/tags" Target="../tags/tag69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6.xml"/><Relationship Id="rId3" Type="http://schemas.openxmlformats.org/officeDocument/2006/relationships/tags" Target="../tags/tag73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72.xml"/><Relationship Id="rId1" Type="http://schemas.openxmlformats.org/officeDocument/2006/relationships/vmlDrawing" Target="../drawings/vmlDrawing6.vml"/><Relationship Id="rId6" Type="http://schemas.openxmlformats.org/officeDocument/2006/relationships/tags" Target="../tags/tag76.xml"/><Relationship Id="rId5" Type="http://schemas.openxmlformats.org/officeDocument/2006/relationships/tags" Target="../tags/tag75.xml"/><Relationship Id="rId10" Type="http://schemas.openxmlformats.org/officeDocument/2006/relationships/oleObject" Target="../embeddings/oleObject6.bin"/><Relationship Id="rId4" Type="http://schemas.openxmlformats.org/officeDocument/2006/relationships/tags" Target="../tags/tag74.xml"/><Relationship Id="rId9" Type="http://schemas.openxmlformats.org/officeDocument/2006/relationships/image" Target="../media/image16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2555875" y="4816475"/>
            <a:ext cx="6370638" cy="847725"/>
          </a:xfrm>
        </p:spPr>
        <p:txBody>
          <a:bodyPr/>
          <a:lstStyle/>
          <a:p>
            <a:r>
              <a:rPr lang="en-US" smtClean="0">
                <a:latin typeface="Arial" charset="0"/>
              </a:rPr>
              <a:t>Introduction into the App Economy</a:t>
            </a:r>
          </a:p>
        </p:txBody>
      </p:sp>
      <p:sp>
        <p:nvSpPr>
          <p:cNvPr id="7" name="Untertitel 6"/>
          <p:cNvSpPr>
            <a:spLocks noGrp="1"/>
          </p:cNvSpPr>
          <p:nvPr>
            <p:ph type="subTitle" idx="1"/>
          </p:nvPr>
        </p:nvSpPr>
        <p:spPr bwMode="auto">
          <a:xfrm>
            <a:off x="2555875" y="5356225"/>
            <a:ext cx="6337300" cy="615950"/>
          </a:xfrm>
          <a:noFill/>
          <a:ln>
            <a:miter lim="800000"/>
            <a:headEnd/>
            <a:tailEnd/>
          </a:ln>
        </p:spPr>
        <p:txBody>
          <a:bodyPr vert="horz" wrap="square" numCol="1" anchor="t" anchorCtr="0" compatLnSpc="1">
            <a:prstTxWarp prst="textNoShape">
              <a:avLst/>
            </a:prstTxWarp>
          </a:bodyPr>
          <a:lstStyle/>
          <a:p>
            <a:r>
              <a:rPr lang="en-US" smtClean="0"/>
              <a:t>Münchener Kreis  </a:t>
            </a:r>
            <a:br>
              <a:rPr lang="en-US" smtClean="0"/>
            </a:br>
            <a:r>
              <a:rPr lang="en-US" smtClean="0"/>
              <a:t>Fachkonferenz App Economy </a:t>
            </a:r>
            <a:br>
              <a:rPr lang="en-US" smtClean="0"/>
            </a:br>
            <a:r>
              <a:rPr lang="en-US" smtClean="0"/>
              <a:t>Paradigmenwechsel oder Evolution</a:t>
            </a:r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7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7" grpId="0" build="p" animBg="1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489" name="Object 129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489" name="think-cell Slide" r:id="rId28" imgW="360" imgH="360" progId="">
              <p:embed/>
            </p:oleObj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>
              <a:defRPr/>
            </a:pPr>
            <a:endParaRPr lang="en-US" sz="1400" kern="0" dirty="0">
              <a:solidFill>
                <a:sysClr val="windowText" lastClr="000000"/>
              </a:solidFill>
              <a:latin typeface="Arial"/>
              <a:cs typeface="+mn-cs"/>
              <a:sym typeface="Arial"/>
            </a:endParaRPr>
          </a:p>
        </p:txBody>
      </p:sp>
      <p:sp>
        <p:nvSpPr>
          <p:cNvPr id="15491" name="Title 3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 smtClean="0">
                <a:latin typeface="Arial" charset="0"/>
              </a:rPr>
              <a:t>The App Economy will be social and location-based short-term and browser-based mid-term</a:t>
            </a:r>
          </a:p>
        </p:txBody>
      </p:sp>
      <p:sp>
        <p:nvSpPr>
          <p:cNvPr id="5" name="Inhaltsplatzhalter 3"/>
          <p:cNvSpPr>
            <a:spLocks noGrp="1"/>
          </p:cNvSpPr>
          <p:nvPr>
            <p:ph idx="1"/>
            <p:custDataLst>
              <p:tags r:id="rId5"/>
            </p:custDataLst>
          </p:nvPr>
        </p:nvSpPr>
        <p:spPr bwMode="auto">
          <a:xfrm>
            <a:off x="250825" y="1500188"/>
            <a:ext cx="3168650" cy="4881562"/>
          </a:xfrm>
          <a:noFill/>
        </p:spPr>
        <p:txBody>
          <a:bodyPr tIns="0"/>
          <a:lstStyle/>
          <a:p>
            <a:pPr marL="179388">
              <a:buFont typeface="Arial" charset="0"/>
              <a:buChar char="•"/>
            </a:pPr>
            <a:r>
              <a:rPr lang="en-US"/>
              <a:t>Apps allow quick access to required information and attractive content …</a:t>
            </a:r>
          </a:p>
          <a:p>
            <a:pPr marL="179388">
              <a:buFont typeface="Arial" charset="0"/>
              <a:buChar char="•"/>
            </a:pPr>
            <a:r>
              <a:rPr lang="en-US"/>
              <a:t>… while including social media, location-based services and augmented reality</a:t>
            </a:r>
          </a:p>
          <a:p>
            <a:pPr marL="179388">
              <a:buFont typeface="Arial" charset="0"/>
              <a:buChar char="•"/>
            </a:pPr>
            <a:r>
              <a:rPr lang="en-US"/>
              <a:t>HTML 5 is device-agnostic and does not require downloads or marketplaces</a:t>
            </a:r>
          </a:p>
          <a:p>
            <a:pPr marL="179388">
              <a:buFont typeface="Arial" charset="0"/>
              <a:buChar char="•"/>
            </a:pPr>
            <a:r>
              <a:rPr lang="en-US"/>
              <a:t>Consumers do not care where they get their content from, they want it the easiest way</a:t>
            </a:r>
          </a:p>
        </p:txBody>
      </p:sp>
      <p:grpSp>
        <p:nvGrpSpPr>
          <p:cNvPr id="7" name="Gruppieren 6"/>
          <p:cNvGrpSpPr>
            <a:grpSpLocks/>
          </p:cNvGrpSpPr>
          <p:nvPr/>
        </p:nvGrpSpPr>
        <p:grpSpPr bwMode="auto">
          <a:xfrm>
            <a:off x="3822700" y="2125663"/>
            <a:ext cx="5076825" cy="4241800"/>
            <a:chOff x="3822701" y="2126018"/>
            <a:chExt cx="5076823" cy="4240830"/>
          </a:xfrm>
        </p:grpSpPr>
        <p:graphicFrame>
          <p:nvGraphicFramePr>
            <p:cNvPr id="15496" name="Object 6"/>
            <p:cNvGraphicFramePr>
              <a:graphicFrameLocks/>
            </p:cNvGraphicFramePr>
            <p:nvPr>
              <p:custDataLst>
                <p:tags r:id="rId7"/>
              </p:custDataLst>
            </p:nvPr>
          </p:nvGraphicFramePr>
          <p:xfrm>
            <a:off x="4705349" y="2126018"/>
            <a:ext cx="4194175" cy="3879760"/>
          </p:xfrm>
          <a:graphic>
            <a:graphicData uri="http://schemas.openxmlformats.org/presentationml/2006/ole">
              <p:oleObj spid="_x0000_s15496" r:id="rId29" imgW="4194412" imgH="3877392" progId="Excel.Chart.8">
                <p:embed/>
              </p:oleObj>
            </a:graphicData>
          </a:graphic>
        </p:graphicFrame>
        <p:sp>
          <p:nvSpPr>
            <p:cNvPr id="8" name="Rectangle 7"/>
            <p:cNvSpPr/>
            <p:nvPr>
              <p:custDataLst>
                <p:tags r:id="rId8"/>
              </p:custDataLst>
            </p:nvPr>
          </p:nvSpPr>
          <p:spPr bwMode="auto">
            <a:xfrm>
              <a:off x="3822701" y="2868798"/>
              <a:ext cx="592138" cy="212676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  <a:extLst>
              <a:ext uri="{909E8E84-426E-40DD-AFC4-6F175D3DCCD1}"/>
              <a:ext uri="{91240B29-F687-4F45-9708-019B960494DF}"/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fld id="{5C01DD8B-1694-42CE-9912-CA7DB71AFAF7}" type="datetime'''S''e''a''''''''r''''''''''''''c''''''''''''''''h'''">
                <a:rPr lang="en-US" sz="1400" kern="0">
                  <a:latin typeface="Arial"/>
                  <a:cs typeface="+mn-cs"/>
                  <a:sym typeface="Arial"/>
                </a:rPr>
                <a:pPr>
                  <a:defRPr/>
                </a:pPr>
                <a:t>Search</a:t>
              </a:fld>
              <a:endParaRPr lang="en-US" sz="1400" kern="0" dirty="0">
                <a:latin typeface="Arial"/>
                <a:cs typeface="+mn-cs"/>
                <a:sym typeface="Arial"/>
              </a:endParaRPr>
            </a:p>
          </p:txBody>
        </p:sp>
        <p:sp>
          <p:nvSpPr>
            <p:cNvPr id="9" name="Rectangle 8"/>
            <p:cNvSpPr/>
            <p:nvPr>
              <p:custDataLst>
                <p:tags r:id="rId9"/>
              </p:custDataLst>
            </p:nvPr>
          </p:nvSpPr>
          <p:spPr bwMode="auto">
            <a:xfrm>
              <a:off x="3822701" y="3406837"/>
              <a:ext cx="768350" cy="212676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  <a:extLst>
              <a:ext uri="{909E8E84-426E-40DD-AFC4-6F175D3DCCD1}"/>
              <a:ext uri="{91240B29-F687-4F45-9708-019B960494DF}"/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fld id="{030A840D-3208-4034-AD0B-1D8DB96F2841}" type="datetime'''''''''''E''''''ntert''''a''''''''''i''''''''''''''''''''''n'">
                <a:rPr lang="en-US" sz="1400" kern="0">
                  <a:latin typeface="Arial"/>
                  <a:cs typeface="+mn-cs"/>
                  <a:sym typeface="Arial"/>
                </a:rPr>
                <a:pPr>
                  <a:defRPr/>
                </a:pPr>
                <a:t>Entertain</a:t>
              </a:fld>
              <a:endParaRPr lang="en-US" sz="1400" kern="0" dirty="0">
                <a:latin typeface="Arial"/>
                <a:cs typeface="+mn-cs"/>
                <a:sym typeface="Arial"/>
              </a:endParaRPr>
            </a:p>
          </p:txBody>
        </p:sp>
        <p:sp>
          <p:nvSpPr>
            <p:cNvPr id="10" name="Rectangle 9"/>
            <p:cNvSpPr/>
            <p:nvPr>
              <p:custDataLst>
                <p:tags r:id="rId10"/>
              </p:custDataLst>
            </p:nvPr>
          </p:nvSpPr>
          <p:spPr bwMode="auto">
            <a:xfrm>
              <a:off x="3822701" y="4492439"/>
              <a:ext cx="552450" cy="212676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  <a:extLst>
              <a:ext uri="{909E8E84-426E-40DD-AFC4-6F175D3DCCD1}"/>
              <a:ext uri="{91240B29-F687-4F45-9708-019B960494DF}"/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fld id="{A5704A6B-4538-4354-9BFA-72F138700BC2}" type="datetime'''''''I''''n''''''''''''''fo''''''''''''''r''''''''''''''''m'">
                <a:rPr lang="en-US" sz="1400" kern="0">
                  <a:latin typeface="Arial"/>
                  <a:cs typeface="+mn-cs"/>
                  <a:sym typeface="Arial"/>
                </a:rPr>
                <a:pPr>
                  <a:defRPr/>
                </a:pPr>
                <a:t>Inform</a:t>
              </a:fld>
              <a:endParaRPr lang="en-US" sz="1400" kern="0" dirty="0">
                <a:latin typeface="Arial"/>
                <a:cs typeface="+mn-cs"/>
                <a:sym typeface="Arial"/>
              </a:endParaRPr>
            </a:p>
          </p:txBody>
        </p:sp>
        <p:sp>
          <p:nvSpPr>
            <p:cNvPr id="11" name="Rectangle 10"/>
            <p:cNvSpPr/>
            <p:nvPr>
              <p:custDataLst>
                <p:tags r:id="rId11"/>
              </p:custDataLst>
            </p:nvPr>
          </p:nvSpPr>
          <p:spPr bwMode="auto">
            <a:xfrm>
              <a:off x="3822701" y="5030479"/>
              <a:ext cx="738188" cy="212676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  <a:extLst>
              <a:ext uri="{909E8E84-426E-40DD-AFC4-6F175D3DCCD1}"/>
              <a:ext uri="{91240B29-F687-4F45-9708-019B960494DF}"/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fld id="{79095E60-C842-49C1-87FE-8AF63F981846}" type="datetime'''''''N''''a''vi''''''''''''''''''''g''''a''te'''''''''">
                <a:rPr lang="en-US" sz="1400" kern="0">
                  <a:latin typeface="Arial"/>
                  <a:cs typeface="+mn-cs"/>
                  <a:sym typeface="Arial"/>
                </a:rPr>
                <a:pPr>
                  <a:defRPr/>
                </a:pPr>
                <a:t>Navigate</a:t>
              </a:fld>
              <a:endParaRPr lang="en-US" sz="1400" kern="0" dirty="0">
                <a:latin typeface="Arial"/>
                <a:cs typeface="+mn-cs"/>
                <a:sym typeface="Arial"/>
              </a:endParaRPr>
            </a:p>
          </p:txBody>
        </p:sp>
        <p:sp>
          <p:nvSpPr>
            <p:cNvPr id="12" name="Rectangle 11"/>
            <p:cNvSpPr/>
            <p:nvPr>
              <p:custDataLst>
                <p:tags r:id="rId12"/>
              </p:custDataLst>
            </p:nvPr>
          </p:nvSpPr>
          <p:spPr bwMode="auto">
            <a:xfrm>
              <a:off x="3822701" y="2330758"/>
              <a:ext cx="442913" cy="212676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  <a:extLst>
              <a:ext uri="{909E8E84-426E-40DD-AFC4-6F175D3DCCD1}"/>
              <a:ext uri="{91240B29-F687-4F45-9708-019B960494DF}"/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fld id="{4B8C0170-723E-47D3-9CE3-3C84CA070526}" type="datetime'''''''''''''''''''S''''''''''''''''''h''''o''''''''p'''''''">
                <a:rPr lang="en-US" sz="1400" kern="0">
                  <a:latin typeface="Arial"/>
                  <a:cs typeface="+mn-cs"/>
                  <a:sym typeface="Arial"/>
                </a:rPr>
                <a:pPr>
                  <a:defRPr/>
                </a:pPr>
                <a:t>Shop</a:t>
              </a:fld>
              <a:endParaRPr lang="en-US" sz="1400" kern="0" dirty="0">
                <a:latin typeface="Arial"/>
                <a:cs typeface="+mn-cs"/>
                <a:sym typeface="Arial"/>
              </a:endParaRPr>
            </a:p>
          </p:txBody>
        </p:sp>
        <p:sp>
          <p:nvSpPr>
            <p:cNvPr id="13" name="Rectangle 12"/>
            <p:cNvSpPr/>
            <p:nvPr>
              <p:custDataLst>
                <p:tags r:id="rId13"/>
              </p:custDataLst>
            </p:nvPr>
          </p:nvSpPr>
          <p:spPr bwMode="gray">
            <a:xfrm>
              <a:off x="5913438" y="2330758"/>
              <a:ext cx="406400" cy="212676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  <a:extLst>
              <a:ext uri="{909E8E84-426E-40DD-AFC4-6F175D3DCCD1}"/>
              <a:ext uri="{91240B29-F687-4F45-9708-019B960494DF}"/>
            </a:extLst>
          </p:spPr>
          <p:txBody>
            <a:bodyPr wrap="none" lIns="25400" tIns="0" rIns="25400" bIns="0" anchor="ctr"/>
            <a:lstStyle/>
            <a:p>
              <a:pPr algn="ctr">
                <a:defRPr/>
              </a:pPr>
              <a:fld id="{17EF96D1-80EE-4DFB-8BE1-F228D76D3167}" type="datetime'''''''''''''''''''''''7''''''''3''''''''''''''''''''''''%'''">
                <a:rPr lang="en-US" sz="1400" kern="0">
                  <a:solidFill>
                    <a:schemeClr val="bg1"/>
                  </a:solidFill>
                  <a:latin typeface="Arial"/>
                  <a:cs typeface="+mn-cs"/>
                  <a:sym typeface="Arial"/>
                </a:rPr>
                <a:pPr algn="ctr">
                  <a:defRPr/>
                </a:pPr>
                <a:t>73%</a:t>
              </a:fld>
              <a:endParaRPr lang="en-US" sz="1400" kern="0" dirty="0">
                <a:solidFill>
                  <a:schemeClr val="bg1"/>
                </a:solidFill>
                <a:latin typeface="Arial"/>
                <a:cs typeface="+mn-cs"/>
                <a:sym typeface="Arial"/>
              </a:endParaRPr>
            </a:p>
          </p:txBody>
        </p:sp>
        <p:sp>
          <p:nvSpPr>
            <p:cNvPr id="14" name="Rectangle 13"/>
            <p:cNvSpPr/>
            <p:nvPr>
              <p:custDataLst>
                <p:tags r:id="rId14"/>
              </p:custDataLst>
            </p:nvPr>
          </p:nvSpPr>
          <p:spPr bwMode="gray">
            <a:xfrm>
              <a:off x="5759450" y="2868798"/>
              <a:ext cx="406400" cy="212676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  <a:extLst>
              <a:ext uri="{909E8E84-426E-40DD-AFC4-6F175D3DCCD1}"/>
              <a:ext uri="{91240B29-F687-4F45-9708-019B960494DF}"/>
            </a:extLst>
          </p:spPr>
          <p:txBody>
            <a:bodyPr wrap="none" lIns="25400" tIns="0" rIns="25400" bIns="0" anchor="ctr"/>
            <a:lstStyle/>
            <a:p>
              <a:pPr algn="ctr">
                <a:defRPr/>
              </a:pPr>
              <a:fld id="{56F5F101-6CF6-4C3B-82E7-23501C4DB291}" type="datetime'''''6''''''3''''''%'''''''''''''''''''">
                <a:rPr lang="en-US" sz="1400" kern="0">
                  <a:solidFill>
                    <a:schemeClr val="bg1"/>
                  </a:solidFill>
                  <a:latin typeface="Arial"/>
                  <a:cs typeface="+mn-cs"/>
                  <a:sym typeface="Arial"/>
                </a:rPr>
                <a:pPr algn="ctr">
                  <a:defRPr/>
                </a:pPr>
                <a:t>63%</a:t>
              </a:fld>
              <a:endParaRPr lang="en-US" sz="1400" kern="0" dirty="0">
                <a:solidFill>
                  <a:schemeClr val="bg1"/>
                </a:solidFill>
                <a:latin typeface="Arial"/>
                <a:cs typeface="+mn-cs"/>
                <a:sym typeface="Arial"/>
              </a:endParaRPr>
            </a:p>
          </p:txBody>
        </p:sp>
        <p:sp>
          <p:nvSpPr>
            <p:cNvPr id="15" name="Rectangle 14"/>
            <p:cNvSpPr/>
            <p:nvPr>
              <p:custDataLst>
                <p:tags r:id="rId15"/>
              </p:custDataLst>
            </p:nvPr>
          </p:nvSpPr>
          <p:spPr bwMode="gray">
            <a:xfrm>
              <a:off x="5556250" y="3406837"/>
              <a:ext cx="406400" cy="212676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  <a:extLst>
              <a:ext uri="{909E8E84-426E-40DD-AFC4-6F175D3DCCD1}"/>
              <a:ext uri="{91240B29-F687-4F45-9708-019B960494DF}"/>
            </a:extLst>
          </p:spPr>
          <p:txBody>
            <a:bodyPr wrap="none" lIns="25400" tIns="0" rIns="25400" bIns="0" anchor="ctr"/>
            <a:lstStyle/>
            <a:p>
              <a:pPr algn="ctr">
                <a:defRPr/>
              </a:pPr>
              <a:fld id="{EBFB303A-B9F8-41B1-8134-3D5FD68855C0}" type="datetime'''''''''''''''''''''''''''''6''0''''''%'''''''''''''''''''''">
                <a:rPr lang="en-US" sz="1400" kern="0">
                  <a:solidFill>
                    <a:schemeClr val="bg1"/>
                  </a:solidFill>
                  <a:latin typeface="Arial"/>
                  <a:cs typeface="+mn-cs"/>
                  <a:sym typeface="Arial"/>
                </a:rPr>
                <a:pPr algn="ctr">
                  <a:defRPr/>
                </a:pPr>
                <a:t>60%</a:t>
              </a:fld>
              <a:endParaRPr lang="en-US" sz="1400" kern="0" dirty="0">
                <a:solidFill>
                  <a:schemeClr val="bg1"/>
                </a:solidFill>
                <a:latin typeface="Arial"/>
                <a:cs typeface="+mn-cs"/>
                <a:sym typeface="Arial"/>
              </a:endParaRPr>
            </a:p>
          </p:txBody>
        </p:sp>
        <p:sp>
          <p:nvSpPr>
            <p:cNvPr id="16" name="Rectangle 15"/>
            <p:cNvSpPr/>
            <p:nvPr>
              <p:custDataLst>
                <p:tags r:id="rId16"/>
              </p:custDataLst>
            </p:nvPr>
          </p:nvSpPr>
          <p:spPr bwMode="auto">
            <a:xfrm>
              <a:off x="3822701" y="3949638"/>
              <a:ext cx="658813" cy="212676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  <a:extLst>
              <a:ext uri="{909E8E84-426E-40DD-AFC4-6F175D3DCCD1}"/>
              <a:ext uri="{91240B29-F687-4F45-9708-019B960494DF}"/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fld id="{1446E39C-4CE5-4750-8E2F-063851090457}" type="datetime'''''''''''M''''''''''''''''''a''n''''''ag''e'''">
                <a:rPr lang="en-US" sz="1400" kern="0">
                  <a:latin typeface="Arial"/>
                  <a:cs typeface="+mn-cs"/>
                  <a:sym typeface="Arial"/>
                </a:rPr>
                <a:pPr>
                  <a:defRPr/>
                </a:pPr>
                <a:t>Manage</a:t>
              </a:fld>
              <a:endParaRPr lang="en-US" sz="1400" kern="0" dirty="0">
                <a:latin typeface="Arial"/>
                <a:cs typeface="+mn-cs"/>
                <a:sym typeface="Arial"/>
              </a:endParaRPr>
            </a:p>
          </p:txBody>
        </p:sp>
        <p:sp>
          <p:nvSpPr>
            <p:cNvPr id="17" name="Rectangle 16"/>
            <p:cNvSpPr/>
            <p:nvPr>
              <p:custDataLst>
                <p:tags r:id="rId17"/>
              </p:custDataLst>
            </p:nvPr>
          </p:nvSpPr>
          <p:spPr bwMode="auto">
            <a:xfrm>
              <a:off x="3822701" y="5568518"/>
              <a:ext cx="708025" cy="214264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  <a:extLst>
              <a:ext uri="{909E8E84-426E-40DD-AFC4-6F175D3DCCD1}"/>
              <a:ext uri="{91240B29-F687-4F45-9708-019B960494DF}"/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fld id="{28AB38AB-B316-4BA4-9FD5-F63F4BC705C3}" type="datetime'''C''''o''''''''''n''''''''''''''ne''c''''''t'">
                <a:rPr lang="en-US" sz="1400" kern="0">
                  <a:latin typeface="Arial"/>
                  <a:cs typeface="+mn-cs"/>
                  <a:sym typeface="Arial"/>
                </a:rPr>
                <a:pPr>
                  <a:defRPr/>
                </a:pPr>
                <a:t>Connect</a:t>
              </a:fld>
              <a:endParaRPr lang="en-US" sz="1400" kern="0" dirty="0">
                <a:latin typeface="Arial"/>
                <a:cs typeface="+mn-cs"/>
                <a:sym typeface="Arial"/>
              </a:endParaRPr>
            </a:p>
          </p:txBody>
        </p:sp>
        <p:sp>
          <p:nvSpPr>
            <p:cNvPr id="18" name="Rectangle 17"/>
            <p:cNvSpPr/>
            <p:nvPr>
              <p:custDataLst>
                <p:tags r:id="rId18"/>
              </p:custDataLst>
            </p:nvPr>
          </p:nvSpPr>
          <p:spPr bwMode="gray">
            <a:xfrm>
              <a:off x="5219700" y="5568518"/>
              <a:ext cx="406400" cy="214264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  <a:extLst>
              <a:ext uri="{909E8E84-426E-40DD-AFC4-6F175D3DCCD1}"/>
              <a:ext uri="{91240B29-F687-4F45-9708-019B960494DF}"/>
            </a:extLst>
          </p:spPr>
          <p:txBody>
            <a:bodyPr wrap="none" lIns="25400" tIns="0" rIns="25400" bIns="0" anchor="ctr"/>
            <a:lstStyle/>
            <a:p>
              <a:pPr algn="ctr">
                <a:defRPr/>
              </a:pPr>
              <a:fld id="{1C5A5766-29FB-4DF1-8DF3-B5C3191807FE}" type="datetime'''''''''''''''''3''1''''''''''''''''%'''''''''">
                <a:rPr lang="en-US" sz="1400" kern="0">
                  <a:solidFill>
                    <a:schemeClr val="bg1"/>
                  </a:solidFill>
                  <a:latin typeface="Arial"/>
                  <a:cs typeface="+mn-cs"/>
                  <a:sym typeface="Arial"/>
                </a:rPr>
                <a:pPr algn="ctr">
                  <a:defRPr/>
                </a:pPr>
                <a:t>31%</a:t>
              </a:fld>
              <a:endParaRPr lang="en-US" sz="1400" kern="0" dirty="0">
                <a:solidFill>
                  <a:schemeClr val="bg1"/>
                </a:solidFill>
                <a:latin typeface="Arial"/>
                <a:cs typeface="+mn-cs"/>
                <a:sym typeface="Arial"/>
              </a:endParaRPr>
            </a:p>
          </p:txBody>
        </p:sp>
        <p:sp>
          <p:nvSpPr>
            <p:cNvPr id="19" name="Rectangle 18"/>
            <p:cNvSpPr/>
            <p:nvPr>
              <p:custDataLst>
                <p:tags r:id="rId19"/>
              </p:custDataLst>
            </p:nvPr>
          </p:nvSpPr>
          <p:spPr bwMode="gray">
            <a:xfrm>
              <a:off x="5364163" y="5030479"/>
              <a:ext cx="406400" cy="212676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  <a:extLst>
              <a:ext uri="{909E8E84-426E-40DD-AFC4-6F175D3DCCD1}"/>
              <a:ext uri="{91240B29-F687-4F45-9708-019B960494DF}"/>
            </a:extLst>
          </p:spPr>
          <p:txBody>
            <a:bodyPr wrap="none" lIns="25400" tIns="0" rIns="25400" bIns="0" anchor="ctr"/>
            <a:lstStyle/>
            <a:p>
              <a:pPr algn="ctr">
                <a:defRPr/>
              </a:pPr>
              <a:fld id="{9AA38F18-7939-424C-B785-D9AFE26D6A3F}" type="datetime'3''''''''''''''5''''''''''''''''''''%'''''''''''">
                <a:rPr lang="en-US" sz="1400" kern="0">
                  <a:solidFill>
                    <a:schemeClr val="bg1"/>
                  </a:solidFill>
                  <a:latin typeface="Arial"/>
                  <a:cs typeface="+mn-cs"/>
                  <a:sym typeface="Arial"/>
                </a:rPr>
                <a:pPr algn="ctr">
                  <a:defRPr/>
                </a:pPr>
                <a:t>35%</a:t>
              </a:fld>
              <a:endParaRPr lang="en-US" sz="1400" kern="0" dirty="0">
                <a:solidFill>
                  <a:schemeClr val="bg1"/>
                </a:solidFill>
                <a:latin typeface="Arial"/>
                <a:cs typeface="+mn-cs"/>
                <a:sym typeface="Arial"/>
              </a:endParaRPr>
            </a:p>
          </p:txBody>
        </p:sp>
        <p:sp>
          <p:nvSpPr>
            <p:cNvPr id="20" name="Rectangle 19"/>
            <p:cNvSpPr/>
            <p:nvPr>
              <p:custDataLst>
                <p:tags r:id="rId20"/>
              </p:custDataLst>
            </p:nvPr>
          </p:nvSpPr>
          <p:spPr bwMode="gray">
            <a:xfrm>
              <a:off x="5422900" y="4492439"/>
              <a:ext cx="406400" cy="212676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  <a:extLst>
              <a:ext uri="{909E8E84-426E-40DD-AFC4-6F175D3DCCD1}"/>
              <a:ext uri="{91240B29-F687-4F45-9708-019B960494DF}"/>
            </a:extLst>
          </p:spPr>
          <p:txBody>
            <a:bodyPr wrap="none" lIns="25400" tIns="0" rIns="25400" bIns="0" anchor="ctr"/>
            <a:lstStyle/>
            <a:p>
              <a:pPr algn="ctr">
                <a:defRPr/>
              </a:pPr>
              <a:fld id="{17B17E2F-1F2A-4F6D-97C1-0D8FC40B9E5C}" type="datetime'''3''''''''9''%'">
                <a:rPr lang="en-US" sz="1400" kern="0">
                  <a:solidFill>
                    <a:schemeClr val="bg1"/>
                  </a:solidFill>
                  <a:latin typeface="Arial"/>
                  <a:cs typeface="+mn-cs"/>
                  <a:sym typeface="Arial"/>
                </a:rPr>
                <a:pPr algn="ctr">
                  <a:defRPr/>
                </a:pPr>
                <a:t>39%</a:t>
              </a:fld>
              <a:endParaRPr lang="en-US" sz="1400" kern="0" dirty="0">
                <a:solidFill>
                  <a:schemeClr val="bg1"/>
                </a:solidFill>
                <a:latin typeface="Arial"/>
                <a:cs typeface="+mn-cs"/>
                <a:sym typeface="Arial"/>
              </a:endParaRPr>
            </a:p>
          </p:txBody>
        </p:sp>
        <p:sp>
          <p:nvSpPr>
            <p:cNvPr id="21" name="Rectangle 20"/>
            <p:cNvSpPr/>
            <p:nvPr>
              <p:custDataLst>
                <p:tags r:id="rId21"/>
              </p:custDataLst>
            </p:nvPr>
          </p:nvSpPr>
          <p:spPr bwMode="gray">
            <a:xfrm>
              <a:off x="5422900" y="3949638"/>
              <a:ext cx="406400" cy="212676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  <a:extLst>
              <a:ext uri="{909E8E84-426E-40DD-AFC4-6F175D3DCCD1}"/>
              <a:ext uri="{91240B29-F687-4F45-9708-019B960494DF}"/>
            </a:extLst>
          </p:spPr>
          <p:txBody>
            <a:bodyPr wrap="none" lIns="25400" tIns="0" rIns="25400" bIns="0" anchor="ctr"/>
            <a:lstStyle/>
            <a:p>
              <a:pPr algn="ctr">
                <a:defRPr/>
              </a:pPr>
              <a:fld id="{52F4AE92-575A-4F53-AB18-87F7E89E5C4C}" type="datetime'''''''4''''''''''''''''''''''''''''''''6''''''''''''''''''%'">
                <a:rPr lang="en-US" sz="1400" kern="0">
                  <a:solidFill>
                    <a:schemeClr val="bg1"/>
                  </a:solidFill>
                  <a:latin typeface="Arial"/>
                  <a:cs typeface="+mn-cs"/>
                  <a:sym typeface="Arial"/>
                </a:rPr>
                <a:pPr algn="ctr">
                  <a:defRPr/>
                </a:pPr>
                <a:t>46%</a:t>
              </a:fld>
              <a:endParaRPr lang="en-US" sz="1400" kern="0" dirty="0">
                <a:solidFill>
                  <a:schemeClr val="bg1"/>
                </a:solidFill>
                <a:latin typeface="Arial"/>
                <a:cs typeface="+mn-cs"/>
                <a:sym typeface="Arial"/>
              </a:endParaRPr>
            </a:p>
          </p:txBody>
        </p:sp>
        <p:sp>
          <p:nvSpPr>
            <p:cNvPr id="22" name="Rectangle 21"/>
            <p:cNvSpPr/>
            <p:nvPr>
              <p:custDataLst>
                <p:tags r:id="rId22"/>
              </p:custDataLst>
            </p:nvPr>
          </p:nvSpPr>
          <p:spPr bwMode="auto">
            <a:xfrm>
              <a:off x="8177212" y="6158933"/>
              <a:ext cx="250825" cy="187282"/>
            </a:xfrm>
            <a:prstGeom prst="rect">
              <a:avLst/>
            </a:prstGeom>
            <a:solidFill>
              <a:schemeClr val="accent3"/>
            </a:solidFill>
            <a:ln w="9525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 lIns="72000" tIns="72000" rIns="72000" bIns="72000"/>
            <a:lstStyle/>
            <a:p>
              <a:pPr>
                <a:spcBef>
                  <a:spcPts val="0"/>
                </a:spcBef>
                <a:spcAft>
                  <a:spcPts val="300"/>
                </a:spcAft>
                <a:defRPr/>
              </a:pPr>
              <a:endParaRPr lang="en-US" sz="1600" kern="0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3" name="Rectangle 22"/>
            <p:cNvSpPr/>
            <p:nvPr>
              <p:custDataLst>
                <p:tags r:id="rId23"/>
              </p:custDataLst>
            </p:nvPr>
          </p:nvSpPr>
          <p:spPr bwMode="auto">
            <a:xfrm>
              <a:off x="6872288" y="6158933"/>
              <a:ext cx="250825" cy="187282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 lIns="72000" tIns="72000" rIns="72000" bIns="72000"/>
            <a:lstStyle/>
            <a:p>
              <a:pPr>
                <a:spcBef>
                  <a:spcPts val="0"/>
                </a:spcBef>
                <a:spcAft>
                  <a:spcPts val="300"/>
                </a:spcAft>
                <a:defRPr/>
              </a:pPr>
              <a:endParaRPr lang="en-US" sz="1600" kern="0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4" name="Rectangle 23"/>
            <p:cNvSpPr/>
            <p:nvPr>
              <p:custDataLst>
                <p:tags r:id="rId24"/>
              </p:custDataLst>
            </p:nvPr>
          </p:nvSpPr>
          <p:spPr bwMode="auto">
            <a:xfrm>
              <a:off x="7202488" y="6154172"/>
              <a:ext cx="650875" cy="212676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  <a:extLst>
              <a:ext uri="{909E8E84-426E-40DD-AFC4-6F175D3DCCD1}"/>
              <a:ext uri="{91240B29-F687-4F45-9708-019B960494DF}"/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fld id="{6A72232F-8EDA-4000-A857-EE460F0C59BC}" type="datetime'''''''''''''Brow''''''s''''e''''r'">
                <a:rPr lang="en-US" sz="1400" kern="0">
                  <a:latin typeface="Arial"/>
                  <a:cs typeface="+mn-cs"/>
                  <a:sym typeface="Arial"/>
                </a:rPr>
                <a:pPr>
                  <a:defRPr/>
                </a:pPr>
                <a:t>Browser</a:t>
              </a:fld>
              <a:endParaRPr lang="en-US" sz="1400" kern="0" dirty="0">
                <a:latin typeface="Arial"/>
                <a:cs typeface="+mn-cs"/>
                <a:sym typeface="Arial"/>
              </a:endParaRPr>
            </a:p>
          </p:txBody>
        </p:sp>
        <p:sp>
          <p:nvSpPr>
            <p:cNvPr id="25" name="Rectangle 24"/>
            <p:cNvSpPr/>
            <p:nvPr>
              <p:custDataLst>
                <p:tags r:id="rId25"/>
              </p:custDataLst>
            </p:nvPr>
          </p:nvSpPr>
          <p:spPr bwMode="auto">
            <a:xfrm>
              <a:off x="8507412" y="6154172"/>
              <a:ext cx="315912" cy="212676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  <a:extLst>
              <a:ext uri="{909E8E84-426E-40DD-AFC4-6F175D3DCCD1}"/>
              <a:ext uri="{91240B29-F687-4F45-9708-019B960494DF}"/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fld id="{E596C842-8AC5-47FE-B019-49BE58321A42}" type="datetime'''''A''''p''''''''''p'''''''''''''''''''''''''''''''''">
                <a:rPr lang="en-US" sz="1400" kern="0">
                  <a:latin typeface="Arial"/>
                  <a:cs typeface="+mn-cs"/>
                  <a:sym typeface="Arial"/>
                </a:rPr>
                <a:pPr>
                  <a:defRPr/>
                </a:pPr>
                <a:t>App</a:t>
              </a:fld>
              <a:endParaRPr lang="en-US" sz="1400" kern="0" dirty="0">
                <a:latin typeface="Arial"/>
                <a:cs typeface="+mn-cs"/>
                <a:sym typeface="Arial"/>
              </a:endParaRPr>
            </a:p>
          </p:txBody>
        </p:sp>
      </p:grpSp>
      <p:sp>
        <p:nvSpPr>
          <p:cNvPr id="6" name="TextBox 5"/>
          <p:cNvSpPr txBox="1">
            <a:spLocks/>
          </p:cNvSpPr>
          <p:nvPr/>
        </p:nvSpPr>
        <p:spPr bwMode="auto">
          <a:xfrm>
            <a:off x="250825" y="6373813"/>
            <a:ext cx="8642350" cy="153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>
              <a:tabLst>
                <a:tab pos="190500" algn="r"/>
                <a:tab pos="292100" algn="l"/>
              </a:tabLst>
            </a:pPr>
            <a:r>
              <a:rPr lang="en-US" sz="1000"/>
              <a:t>Source: Circ.us. eMarketer </a:t>
            </a:r>
          </a:p>
        </p:txBody>
      </p:sp>
      <p:sp>
        <p:nvSpPr>
          <p:cNvPr id="27" name="TextBox 50"/>
          <p:cNvSpPr txBox="1"/>
          <p:nvPr>
            <p:custDataLst>
              <p:tags r:id="rId6"/>
            </p:custDataLst>
          </p:nvPr>
        </p:nvSpPr>
        <p:spPr>
          <a:xfrm>
            <a:off x="3822700" y="1458913"/>
            <a:ext cx="5076825" cy="565150"/>
          </a:xfrm>
          <a:prstGeom prst="rect">
            <a:avLst/>
          </a:prstGeom>
          <a:noFill/>
        </p:spPr>
        <p:txBody>
          <a:bodyPr lIns="0" tIns="36000" rIns="0" bIns="36000">
            <a:spAutoFit/>
          </a:bodyPr>
          <a:lstStyle/>
          <a:p>
            <a:pPr>
              <a:defRPr/>
            </a:pPr>
            <a:r>
              <a:rPr lang="en-US" sz="1600" spc="-10" dirty="0">
                <a:solidFill>
                  <a:schemeClr val="accent2"/>
                </a:solidFill>
              </a:rPr>
              <a:t>Mobile Internet </a:t>
            </a:r>
            <a:r>
              <a:rPr lang="en-US" sz="1600" spc="-10" dirty="0">
                <a:solidFill>
                  <a:schemeClr val="accent2"/>
                </a:solidFill>
              </a:rPr>
              <a:t>tasks </a:t>
            </a:r>
            <a:r>
              <a:rPr lang="en-US" sz="1600" spc="-10" dirty="0">
                <a:solidFill>
                  <a:schemeClr val="accent2"/>
                </a:solidFill>
              </a:rPr>
              <a:t>for </a:t>
            </a:r>
            <a:r>
              <a:rPr lang="en-US" sz="1600" spc="-10" dirty="0">
                <a:solidFill>
                  <a:schemeClr val="accent2"/>
                </a:solidFill>
              </a:rPr>
              <a:t>which </a:t>
            </a:r>
            <a:r>
              <a:rPr lang="en-US" sz="1600" spc="-10" dirty="0">
                <a:solidFill>
                  <a:schemeClr val="accent2"/>
                </a:solidFill>
              </a:rPr>
              <a:t>US </a:t>
            </a:r>
            <a:r>
              <a:rPr lang="en-US" sz="1600" spc="-10" dirty="0">
                <a:solidFill>
                  <a:schemeClr val="accent2"/>
                </a:solidFill>
              </a:rPr>
              <a:t>smartphone users use </a:t>
            </a:r>
            <a:r>
              <a:rPr lang="en-US" sz="1600" spc="-10" dirty="0">
                <a:solidFill>
                  <a:schemeClr val="accent2"/>
                </a:solidFill>
              </a:rPr>
              <a:t>a Mobile App vs. Browser, 2011</a:t>
            </a:r>
          </a:p>
        </p:txBody>
      </p:sp>
    </p:spTree>
  </p:cSld>
  <p:clrMapOvr>
    <a:masterClrMapping/>
  </p:clrMapOvr>
  <p:transition spd="slow">
    <p:push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000"/>
                            </p:stCondLst>
                            <p:childTnLst>
                              <p:par>
                                <p:cTn id="1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500"/>
                            </p:stCondLst>
                            <p:childTnLst>
                              <p:par>
                                <p:cTn id="23" presetID="22" presetClass="entr" presetSubtype="8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500"/>
                            </p:stCondLst>
                            <p:childTnLst>
                              <p:par>
                                <p:cTn id="27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uild="allAtOnce"/>
      <p:bldP spid="6" grpId="0"/>
      <p:bldP spid="27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607" name="Object 223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6607" name="think-cell Slide" r:id="rId10" imgW="360" imgH="360" progId="">
              <p:embed/>
            </p:oleObj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>
              <a:defRPr/>
            </a:pPr>
            <a:endParaRPr lang="en-US" sz="1400" kern="0" dirty="0">
              <a:solidFill>
                <a:sysClr val="windowText" lastClr="000000"/>
              </a:solidFill>
              <a:latin typeface="Arial"/>
              <a:cs typeface="+mn-cs"/>
              <a:sym typeface="Arial"/>
            </a:endParaRPr>
          </a:p>
        </p:txBody>
      </p:sp>
      <p:sp>
        <p:nvSpPr>
          <p:cNvPr id="16609" name="Title 3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 smtClean="0">
                <a:latin typeface="Arial" charset="0"/>
              </a:rPr>
              <a:t>The future of the App Economy highly depends on the valid business models – which are still very often unclear …</a:t>
            </a:r>
          </a:p>
        </p:txBody>
      </p:sp>
      <p:pic>
        <p:nvPicPr>
          <p:cNvPr id="16475" name="Picture 91" descr="B:\1_Kunden\Accenture\1111_PPT_AppEconomy\Bilder\apps\png\1\0.1_App-48.png"/>
          <p:cNvPicPr>
            <a:picLocks noChangeAspect="1" noChangeArrowheads="1"/>
          </p:cNvPicPr>
          <p:nvPr/>
        </p:nvPicPr>
        <p:blipFill>
          <a:blip r:embed="rId11"/>
          <a:srcRect/>
          <a:stretch>
            <a:fillRect/>
          </a:stretch>
        </p:blipFill>
        <p:spPr bwMode="auto">
          <a:xfrm>
            <a:off x="2027238" y="3168650"/>
            <a:ext cx="430212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476" name="Picture 92" descr="B:\1_Kunden\Accenture\1111_PPT_AppEconomy\Bilder\apps\png\1\0.1_App-01.png"/>
          <p:cNvPicPr>
            <a:picLocks noChangeAspect="1" noChangeArrowheads="1"/>
          </p:cNvPicPr>
          <p:nvPr/>
        </p:nvPicPr>
        <p:blipFill>
          <a:blip r:embed="rId12"/>
          <a:srcRect/>
          <a:stretch>
            <a:fillRect/>
          </a:stretch>
        </p:blipFill>
        <p:spPr bwMode="auto">
          <a:xfrm>
            <a:off x="7518400" y="4027488"/>
            <a:ext cx="446088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477" name="Picture 93" descr="B:\1_Kunden\Accenture\1111_PPT_AppEconomy\Bilder\apps\png\1\0.1_App-02.png"/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1531938" y="5797550"/>
            <a:ext cx="4445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478" name="Picture 94" descr="B:\1_Kunden\Accenture\1111_PPT_AppEconomy\Bilder\apps\png\1\0.1_App-03.png"/>
          <p:cNvPicPr>
            <a:picLocks noChangeAspect="1" noChangeArrowheads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3005138" y="3103563"/>
            <a:ext cx="4445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479" name="Picture 95" descr="B:\1_Kunden\Accenture\1111_PPT_AppEconomy\Bilder\apps\png\1\0.1_App-04.png"/>
          <p:cNvPicPr>
            <a:picLocks noChangeAspect="1" noChangeArrowheads="1"/>
          </p:cNvPicPr>
          <p:nvPr/>
        </p:nvPicPr>
        <p:blipFill>
          <a:blip r:embed="rId15"/>
          <a:srcRect/>
          <a:stretch>
            <a:fillRect/>
          </a:stretch>
        </p:blipFill>
        <p:spPr bwMode="auto">
          <a:xfrm>
            <a:off x="3592513" y="5383213"/>
            <a:ext cx="4445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480" name="Picture 96" descr="B:\1_Kunden\Accenture\1111_PPT_AppEconomy\Bilder\apps\png\1\0.1_App-05.png"/>
          <p:cNvPicPr>
            <a:picLocks noChangeAspect="1" noChangeArrowheads="1"/>
          </p:cNvPicPr>
          <p:nvPr/>
        </p:nvPicPr>
        <p:blipFill>
          <a:blip r:embed="rId16"/>
          <a:srcRect/>
          <a:stretch>
            <a:fillRect/>
          </a:stretch>
        </p:blipFill>
        <p:spPr bwMode="auto">
          <a:xfrm>
            <a:off x="935038" y="5386388"/>
            <a:ext cx="4445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481" name="Picture 97" descr="B:\1_Kunden\Accenture\1111_PPT_AppEconomy\Bilder\apps\png\1\0.1_App-06.png"/>
          <p:cNvPicPr>
            <a:picLocks noChangeAspect="1" noChangeArrowheads="1"/>
          </p:cNvPicPr>
          <p:nvPr/>
        </p:nvPicPr>
        <p:blipFill>
          <a:blip r:embed="rId17"/>
          <a:srcRect/>
          <a:stretch>
            <a:fillRect/>
          </a:stretch>
        </p:blipFill>
        <p:spPr bwMode="auto">
          <a:xfrm>
            <a:off x="488950" y="4276725"/>
            <a:ext cx="446088" cy="433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482" name="Picture 98" descr="B:\1_Kunden\Accenture\1111_PPT_AppEconomy\Bilder\apps\png\1\0.1_App-07.png"/>
          <p:cNvPicPr>
            <a:picLocks noChangeAspect="1" noChangeArrowheads="1"/>
          </p:cNvPicPr>
          <p:nvPr/>
        </p:nvPicPr>
        <p:blipFill>
          <a:blip r:embed="rId18"/>
          <a:srcRect/>
          <a:stretch>
            <a:fillRect/>
          </a:stretch>
        </p:blipFill>
        <p:spPr bwMode="auto">
          <a:xfrm>
            <a:off x="3011488" y="4148138"/>
            <a:ext cx="4445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483" name="Picture 99" descr="B:\1_Kunden\Accenture\1111_PPT_AppEconomy\Bilder\apps\png\1\0.1_App-08.png"/>
          <p:cNvPicPr>
            <a:picLocks noChangeAspect="1" noChangeArrowheads="1"/>
          </p:cNvPicPr>
          <p:nvPr/>
        </p:nvPicPr>
        <p:blipFill>
          <a:blip r:embed="rId19"/>
          <a:srcRect/>
          <a:stretch>
            <a:fillRect/>
          </a:stretch>
        </p:blipFill>
        <p:spPr bwMode="auto">
          <a:xfrm>
            <a:off x="6180138" y="2551113"/>
            <a:ext cx="446087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484" name="Picture 100" descr="B:\1_Kunden\Accenture\1111_PPT_AppEconomy\Bilder\apps\png\1\0.1_App-09.png"/>
          <p:cNvPicPr>
            <a:picLocks noChangeAspect="1" noChangeArrowheads="1"/>
          </p:cNvPicPr>
          <p:nvPr/>
        </p:nvPicPr>
        <p:blipFill>
          <a:blip r:embed="rId20"/>
          <a:srcRect/>
          <a:stretch>
            <a:fillRect/>
          </a:stretch>
        </p:blipFill>
        <p:spPr bwMode="auto">
          <a:xfrm>
            <a:off x="2127250" y="1428750"/>
            <a:ext cx="4445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485" name="Picture 101" descr="B:\1_Kunden\Accenture\1111_PPT_AppEconomy\Bilder\apps\png\1\0.1_App-10.png"/>
          <p:cNvPicPr>
            <a:picLocks noChangeAspect="1" noChangeArrowheads="1"/>
          </p:cNvPicPr>
          <p:nvPr/>
        </p:nvPicPr>
        <p:blipFill>
          <a:blip r:embed="rId21"/>
          <a:srcRect/>
          <a:stretch>
            <a:fillRect/>
          </a:stretch>
        </p:blipFill>
        <p:spPr bwMode="auto">
          <a:xfrm>
            <a:off x="2832100" y="1514475"/>
            <a:ext cx="4445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486" name="Picture 102" descr="B:\1_Kunden\Accenture\1111_PPT_AppEconomy\Bilder\apps\png\1\0.1_App-11.png"/>
          <p:cNvPicPr>
            <a:picLocks noChangeAspect="1" noChangeArrowheads="1"/>
          </p:cNvPicPr>
          <p:nvPr/>
        </p:nvPicPr>
        <p:blipFill>
          <a:blip r:embed="rId22"/>
          <a:srcRect/>
          <a:stretch>
            <a:fillRect/>
          </a:stretch>
        </p:blipFill>
        <p:spPr bwMode="auto">
          <a:xfrm>
            <a:off x="5175250" y="1968500"/>
            <a:ext cx="4445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487" name="Picture 103" descr="B:\1_Kunden\Accenture\1111_PPT_AppEconomy\Bilder\apps\png\1\0.1_App-12.png"/>
          <p:cNvPicPr>
            <a:picLocks noChangeAspect="1" noChangeArrowheads="1"/>
          </p:cNvPicPr>
          <p:nvPr/>
        </p:nvPicPr>
        <p:blipFill>
          <a:blip r:embed="rId23"/>
          <a:srcRect/>
          <a:stretch>
            <a:fillRect/>
          </a:stretch>
        </p:blipFill>
        <p:spPr bwMode="auto">
          <a:xfrm>
            <a:off x="1522413" y="1757363"/>
            <a:ext cx="446087" cy="433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488" name="Picture 104" descr="B:\1_Kunden\Accenture\1111_PPT_AppEconomy\Bilder\apps\png\1\0.1_App-13.png"/>
          <p:cNvPicPr>
            <a:picLocks noChangeAspect="1" noChangeArrowheads="1"/>
          </p:cNvPicPr>
          <p:nvPr/>
        </p:nvPicPr>
        <p:blipFill>
          <a:blip r:embed="rId24"/>
          <a:srcRect/>
          <a:stretch>
            <a:fillRect/>
          </a:stretch>
        </p:blipFill>
        <p:spPr bwMode="auto">
          <a:xfrm>
            <a:off x="5237163" y="2882900"/>
            <a:ext cx="4445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489" name="Picture 105" descr="B:\1_Kunden\Accenture\1111_PPT_AppEconomy\Bilder\apps\png\1\0.1_App-14.png"/>
          <p:cNvPicPr>
            <a:picLocks noChangeAspect="1" noChangeArrowheads="1"/>
          </p:cNvPicPr>
          <p:nvPr/>
        </p:nvPicPr>
        <p:blipFill>
          <a:blip r:embed="rId25"/>
          <a:srcRect/>
          <a:stretch>
            <a:fillRect/>
          </a:stretch>
        </p:blipFill>
        <p:spPr bwMode="auto">
          <a:xfrm>
            <a:off x="4305300" y="5232400"/>
            <a:ext cx="4445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490" name="Picture 106" descr="B:\1_Kunden\Accenture\1111_PPT_AppEconomy\Bilder\apps\png\1\0.1_App-15.png"/>
          <p:cNvPicPr>
            <a:picLocks noChangeAspect="1" noChangeArrowheads="1"/>
          </p:cNvPicPr>
          <p:nvPr/>
        </p:nvPicPr>
        <p:blipFill>
          <a:blip r:embed="rId26"/>
          <a:srcRect/>
          <a:stretch>
            <a:fillRect/>
          </a:stretch>
        </p:blipFill>
        <p:spPr bwMode="auto">
          <a:xfrm>
            <a:off x="6434138" y="4954588"/>
            <a:ext cx="4445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491" name="Picture 107" descr="B:\1_Kunden\Accenture\1111_PPT_AppEconomy\Bilder\apps\png\1\0.1_App-16.png"/>
          <p:cNvPicPr>
            <a:picLocks noChangeAspect="1" noChangeArrowheads="1"/>
          </p:cNvPicPr>
          <p:nvPr/>
        </p:nvPicPr>
        <p:blipFill>
          <a:blip r:embed="rId27"/>
          <a:srcRect/>
          <a:stretch>
            <a:fillRect/>
          </a:stretch>
        </p:blipFill>
        <p:spPr bwMode="auto">
          <a:xfrm>
            <a:off x="966788" y="4691063"/>
            <a:ext cx="444500" cy="433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492" name="Picture 108" descr="B:\1_Kunden\Accenture\1111_PPT_AppEconomy\Bilder\apps\png\1\0.1_App-17.png"/>
          <p:cNvPicPr>
            <a:picLocks noChangeAspect="1" noChangeArrowheads="1"/>
          </p:cNvPicPr>
          <p:nvPr/>
        </p:nvPicPr>
        <p:blipFill>
          <a:blip r:embed="rId28"/>
          <a:srcRect/>
          <a:stretch>
            <a:fillRect/>
          </a:stretch>
        </p:blipFill>
        <p:spPr bwMode="auto">
          <a:xfrm>
            <a:off x="2967038" y="5178425"/>
            <a:ext cx="4445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493" name="Picture 109" descr="B:\1_Kunden\Accenture\1111_PPT_AppEconomy\Bilder\apps\png\1\0.1_App-18.png"/>
          <p:cNvPicPr>
            <a:picLocks noChangeAspect="1" noChangeArrowheads="1"/>
          </p:cNvPicPr>
          <p:nvPr/>
        </p:nvPicPr>
        <p:blipFill>
          <a:blip r:embed="rId29"/>
          <a:srcRect/>
          <a:stretch>
            <a:fillRect/>
          </a:stretch>
        </p:blipFill>
        <p:spPr bwMode="auto">
          <a:xfrm>
            <a:off x="774700" y="2860675"/>
            <a:ext cx="446088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494" name="Picture 110" descr="B:\1_Kunden\Accenture\1111_PPT_AppEconomy\Bilder\apps\png\1\0.1_App-19.png"/>
          <p:cNvPicPr>
            <a:picLocks noChangeAspect="1" noChangeArrowheads="1"/>
          </p:cNvPicPr>
          <p:nvPr/>
        </p:nvPicPr>
        <p:blipFill>
          <a:blip r:embed="rId30"/>
          <a:srcRect/>
          <a:stretch>
            <a:fillRect/>
          </a:stretch>
        </p:blipFill>
        <p:spPr bwMode="auto">
          <a:xfrm>
            <a:off x="5341938" y="3844925"/>
            <a:ext cx="4445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495" name="Picture 111" descr="B:\1_Kunden\Accenture\1111_PPT_AppEconomy\Bilder\apps\png\1\0.1_App-20.png"/>
          <p:cNvPicPr>
            <a:picLocks noChangeAspect="1" noChangeArrowheads="1"/>
          </p:cNvPicPr>
          <p:nvPr/>
        </p:nvPicPr>
        <p:blipFill>
          <a:blip r:embed="rId31"/>
          <a:srcRect/>
          <a:stretch>
            <a:fillRect/>
          </a:stretch>
        </p:blipFill>
        <p:spPr bwMode="auto">
          <a:xfrm>
            <a:off x="4792663" y="2424113"/>
            <a:ext cx="4445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496" name="Picture 112" descr="B:\1_Kunden\Accenture\1111_PPT_AppEconomy\Bilder\apps\png\1\0.1_App-21.png"/>
          <p:cNvPicPr>
            <a:picLocks noChangeAspect="1" noChangeArrowheads="1"/>
          </p:cNvPicPr>
          <p:nvPr/>
        </p:nvPicPr>
        <p:blipFill>
          <a:blip r:embed="rId32"/>
          <a:srcRect/>
          <a:stretch>
            <a:fillRect/>
          </a:stretch>
        </p:blipFill>
        <p:spPr bwMode="auto">
          <a:xfrm>
            <a:off x="3451225" y="2173288"/>
            <a:ext cx="4445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497" name="Picture 113" descr="B:\1_Kunden\Accenture\1111_PPT_AppEconomy\Bilder\apps\png\1\0.1_App-22.png"/>
          <p:cNvPicPr>
            <a:picLocks noChangeAspect="1" noChangeArrowheads="1"/>
          </p:cNvPicPr>
          <p:nvPr/>
        </p:nvPicPr>
        <p:blipFill>
          <a:blip r:embed="rId33"/>
          <a:srcRect/>
          <a:stretch>
            <a:fillRect/>
          </a:stretch>
        </p:blipFill>
        <p:spPr bwMode="auto">
          <a:xfrm>
            <a:off x="1014413" y="2173288"/>
            <a:ext cx="446087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498" name="Picture 114" descr="B:\1_Kunden\Accenture\1111_PPT_AppEconomy\Bilder\apps\png\1\0.1_App-23.png"/>
          <p:cNvPicPr>
            <a:picLocks noChangeAspect="1" noChangeArrowheads="1"/>
          </p:cNvPicPr>
          <p:nvPr/>
        </p:nvPicPr>
        <p:blipFill>
          <a:blip r:embed="rId34"/>
          <a:srcRect/>
          <a:stretch>
            <a:fillRect/>
          </a:stretch>
        </p:blipFill>
        <p:spPr bwMode="auto">
          <a:xfrm>
            <a:off x="5727700" y="5146675"/>
            <a:ext cx="446088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499" name="Picture 115" descr="B:\1_Kunden\Accenture\1111_PPT_AppEconomy\Bilder\apps\png\1\0.1_App-24.png"/>
          <p:cNvPicPr>
            <a:picLocks noChangeAspect="1" noChangeArrowheads="1"/>
          </p:cNvPicPr>
          <p:nvPr/>
        </p:nvPicPr>
        <p:blipFill>
          <a:blip r:embed="rId35"/>
          <a:srcRect/>
          <a:stretch>
            <a:fillRect/>
          </a:stretch>
        </p:blipFill>
        <p:spPr bwMode="auto">
          <a:xfrm>
            <a:off x="1300163" y="3209925"/>
            <a:ext cx="446087" cy="433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500" name="Picture 116" descr="B:\1_Kunden\Accenture\1111_PPT_AppEconomy\Bilder\apps\png\1\0.1_App-25.png"/>
          <p:cNvPicPr>
            <a:picLocks noChangeAspect="1" noChangeArrowheads="1"/>
          </p:cNvPicPr>
          <p:nvPr/>
        </p:nvPicPr>
        <p:blipFill>
          <a:blip r:embed="rId36"/>
          <a:srcRect/>
          <a:stretch>
            <a:fillRect/>
          </a:stretch>
        </p:blipFill>
        <p:spPr bwMode="auto">
          <a:xfrm>
            <a:off x="812800" y="3683000"/>
            <a:ext cx="446088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501" name="Picture 117" descr="B:\1_Kunden\Accenture\1111_PPT_AppEconomy\Bilder\apps\png\1\0.1_App-26.png"/>
          <p:cNvPicPr>
            <a:picLocks noChangeAspect="1" noChangeArrowheads="1"/>
          </p:cNvPicPr>
          <p:nvPr/>
        </p:nvPicPr>
        <p:blipFill>
          <a:blip r:embed="rId37"/>
          <a:srcRect/>
          <a:stretch>
            <a:fillRect/>
          </a:stretch>
        </p:blipFill>
        <p:spPr bwMode="auto">
          <a:xfrm>
            <a:off x="1717675" y="5138738"/>
            <a:ext cx="4445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502" name="Picture 118" descr="B:\1_Kunden\Accenture\1111_PPT_AppEconomy\Bilder\apps\png\1\0.1_App-27.png"/>
          <p:cNvPicPr>
            <a:picLocks noChangeAspect="1" noChangeArrowheads="1"/>
          </p:cNvPicPr>
          <p:nvPr/>
        </p:nvPicPr>
        <p:blipFill>
          <a:blip r:embed="rId38"/>
          <a:srcRect/>
          <a:stretch>
            <a:fillRect/>
          </a:stretch>
        </p:blipFill>
        <p:spPr bwMode="auto">
          <a:xfrm>
            <a:off x="3189288" y="5851525"/>
            <a:ext cx="4445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503" name="Picture 119" descr="B:\1_Kunden\Accenture\1111_PPT_AppEconomy\Bilder\apps\png\1\0.1_App-28.png"/>
          <p:cNvPicPr>
            <a:picLocks noChangeAspect="1" noChangeArrowheads="1"/>
          </p:cNvPicPr>
          <p:nvPr/>
        </p:nvPicPr>
        <p:blipFill>
          <a:blip r:embed="rId39"/>
          <a:srcRect/>
          <a:stretch>
            <a:fillRect/>
          </a:stretch>
        </p:blipFill>
        <p:spPr bwMode="auto">
          <a:xfrm>
            <a:off x="2814638" y="4683125"/>
            <a:ext cx="4445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504" name="Picture 120" descr="B:\1_Kunden\Accenture\1111_PPT_AppEconomy\Bilder\apps\png\1\0.1_App-29.png"/>
          <p:cNvPicPr>
            <a:picLocks noChangeAspect="1" noChangeArrowheads="1"/>
          </p:cNvPicPr>
          <p:nvPr/>
        </p:nvPicPr>
        <p:blipFill>
          <a:blip r:embed="rId40"/>
          <a:srcRect/>
          <a:stretch>
            <a:fillRect/>
          </a:stretch>
        </p:blipFill>
        <p:spPr bwMode="auto">
          <a:xfrm>
            <a:off x="3843338" y="3978275"/>
            <a:ext cx="4445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505" name="Picture 121" descr="B:\1_Kunden\Accenture\1111_PPT_AppEconomy\Bilder\apps\png\1\0.1_App-30.png"/>
          <p:cNvPicPr>
            <a:picLocks noChangeAspect="1" noChangeArrowheads="1"/>
          </p:cNvPicPr>
          <p:nvPr/>
        </p:nvPicPr>
        <p:blipFill>
          <a:blip r:embed="rId41"/>
          <a:srcRect/>
          <a:stretch>
            <a:fillRect/>
          </a:stretch>
        </p:blipFill>
        <p:spPr bwMode="auto">
          <a:xfrm>
            <a:off x="3414713" y="2663825"/>
            <a:ext cx="4445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506" name="Picture 122" descr="B:\1_Kunden\Accenture\1111_PPT_AppEconomy\Bilder\apps\png\1\0.1_App-31.png"/>
          <p:cNvPicPr>
            <a:picLocks noChangeAspect="1" noChangeArrowheads="1"/>
          </p:cNvPicPr>
          <p:nvPr/>
        </p:nvPicPr>
        <p:blipFill>
          <a:blip r:embed="rId42"/>
          <a:srcRect/>
          <a:stretch>
            <a:fillRect/>
          </a:stretch>
        </p:blipFill>
        <p:spPr bwMode="auto">
          <a:xfrm>
            <a:off x="2459038" y="3714750"/>
            <a:ext cx="4445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507" name="Picture 123" descr="B:\1_Kunden\Accenture\1111_PPT_AppEconomy\Bilder\apps\png\1\0.1_App-32.png"/>
          <p:cNvPicPr>
            <a:picLocks noChangeAspect="1" noChangeArrowheads="1"/>
          </p:cNvPicPr>
          <p:nvPr/>
        </p:nvPicPr>
        <p:blipFill>
          <a:blip r:embed="rId43"/>
          <a:srcRect/>
          <a:stretch>
            <a:fillRect/>
          </a:stretch>
        </p:blipFill>
        <p:spPr bwMode="auto">
          <a:xfrm>
            <a:off x="6261100" y="3135313"/>
            <a:ext cx="446088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508" name="Picture 124" descr="B:\1_Kunden\Accenture\1111_PPT_AppEconomy\Bilder\apps\png\1\0.1_App-33.png"/>
          <p:cNvPicPr>
            <a:picLocks noChangeAspect="1" noChangeArrowheads="1"/>
          </p:cNvPicPr>
          <p:nvPr/>
        </p:nvPicPr>
        <p:blipFill>
          <a:blip r:embed="rId44"/>
          <a:srcRect/>
          <a:stretch>
            <a:fillRect/>
          </a:stretch>
        </p:blipFill>
        <p:spPr bwMode="auto">
          <a:xfrm>
            <a:off x="2247900" y="2436813"/>
            <a:ext cx="4445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509" name="Picture 125" descr="B:\1_Kunden\Accenture\1111_PPT_AppEconomy\Bilder\apps\png\1\0.1_App-34.png"/>
          <p:cNvPicPr>
            <a:picLocks noChangeAspect="1" noChangeArrowheads="1"/>
          </p:cNvPicPr>
          <p:nvPr/>
        </p:nvPicPr>
        <p:blipFill>
          <a:blip r:embed="rId45"/>
          <a:srcRect/>
          <a:stretch>
            <a:fillRect/>
          </a:stretch>
        </p:blipFill>
        <p:spPr bwMode="auto">
          <a:xfrm>
            <a:off x="4560888" y="4587875"/>
            <a:ext cx="4445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510" name="Picture 126" descr="B:\1_Kunden\Accenture\1111_PPT_AppEconomy\Bilder\apps\png\1\0.1_App-35.png"/>
          <p:cNvPicPr>
            <a:picLocks noChangeAspect="1" noChangeArrowheads="1"/>
          </p:cNvPicPr>
          <p:nvPr/>
        </p:nvPicPr>
        <p:blipFill>
          <a:blip r:embed="rId46"/>
          <a:srcRect/>
          <a:stretch>
            <a:fillRect/>
          </a:stretch>
        </p:blipFill>
        <p:spPr bwMode="auto">
          <a:xfrm>
            <a:off x="1527175" y="2708275"/>
            <a:ext cx="4445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511" name="Picture 127" descr="B:\1_Kunden\Accenture\1111_PPT_AppEconomy\Bilder\apps\png\1\0.1_App-36.png"/>
          <p:cNvPicPr>
            <a:picLocks noChangeAspect="1" noChangeArrowheads="1"/>
          </p:cNvPicPr>
          <p:nvPr/>
        </p:nvPicPr>
        <p:blipFill>
          <a:blip r:embed="rId47"/>
          <a:srcRect/>
          <a:stretch>
            <a:fillRect/>
          </a:stretch>
        </p:blipFill>
        <p:spPr bwMode="auto">
          <a:xfrm>
            <a:off x="1717675" y="3779838"/>
            <a:ext cx="4445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512" name="Picture 128" descr="B:\1_Kunden\Accenture\1111_PPT_AppEconomy\Bilder\apps\png\1\0.1_App-37.png"/>
          <p:cNvPicPr>
            <a:picLocks noChangeAspect="1" noChangeArrowheads="1"/>
          </p:cNvPicPr>
          <p:nvPr/>
        </p:nvPicPr>
        <p:blipFill>
          <a:blip r:embed="rId48"/>
          <a:srcRect/>
          <a:stretch>
            <a:fillRect/>
          </a:stretch>
        </p:blipFill>
        <p:spPr bwMode="auto">
          <a:xfrm>
            <a:off x="5089525" y="3411538"/>
            <a:ext cx="4445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513" name="Picture 129" descr="B:\1_Kunden\Accenture\1111_PPT_AppEconomy\Bilder\apps\png\1\0.1_App-38.png"/>
          <p:cNvPicPr>
            <a:picLocks noChangeAspect="1" noChangeArrowheads="1"/>
          </p:cNvPicPr>
          <p:nvPr/>
        </p:nvPicPr>
        <p:blipFill>
          <a:blip r:embed="rId49"/>
          <a:srcRect/>
          <a:stretch>
            <a:fillRect/>
          </a:stretch>
        </p:blipFill>
        <p:spPr bwMode="auto">
          <a:xfrm>
            <a:off x="3925888" y="2346325"/>
            <a:ext cx="446087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514" name="Picture 130" descr="B:\1_Kunden\Accenture\1111_PPT_AppEconomy\Bilder\apps\png\1\0.1_App-39.png"/>
          <p:cNvPicPr>
            <a:picLocks noChangeAspect="1" noChangeArrowheads="1"/>
          </p:cNvPicPr>
          <p:nvPr/>
        </p:nvPicPr>
        <p:blipFill>
          <a:blip r:embed="rId50"/>
          <a:srcRect/>
          <a:stretch>
            <a:fillRect/>
          </a:stretch>
        </p:blipFill>
        <p:spPr bwMode="auto">
          <a:xfrm>
            <a:off x="5711825" y="3513138"/>
            <a:ext cx="4445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515" name="Picture 131" descr="B:\1_Kunden\Accenture\1111_PPT_AppEconomy\Bilder\apps\png\1\0.1_App-40.png"/>
          <p:cNvPicPr>
            <a:picLocks noChangeAspect="1" noChangeArrowheads="1"/>
          </p:cNvPicPr>
          <p:nvPr/>
        </p:nvPicPr>
        <p:blipFill>
          <a:blip r:embed="rId51"/>
          <a:srcRect/>
          <a:stretch>
            <a:fillRect/>
          </a:stretch>
        </p:blipFill>
        <p:spPr bwMode="auto">
          <a:xfrm>
            <a:off x="1135063" y="4135438"/>
            <a:ext cx="4445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516" name="Picture 132" descr="B:\1_Kunden\Accenture\1111_PPT_AppEconomy\Bilder\apps\png\1\0.1_App-41.png"/>
          <p:cNvPicPr>
            <a:picLocks noChangeAspect="1" noChangeArrowheads="1"/>
          </p:cNvPicPr>
          <p:nvPr/>
        </p:nvPicPr>
        <p:blipFill>
          <a:blip r:embed="rId52"/>
          <a:srcRect/>
          <a:stretch>
            <a:fillRect/>
          </a:stretch>
        </p:blipFill>
        <p:spPr bwMode="auto">
          <a:xfrm>
            <a:off x="3281363" y="3643313"/>
            <a:ext cx="4445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517" name="Picture 133" descr="B:\1_Kunden\Accenture\1111_PPT_AppEconomy\Bilder\apps\png\1\0.1_App-42.png"/>
          <p:cNvPicPr>
            <a:picLocks noChangeAspect="1" noChangeArrowheads="1"/>
          </p:cNvPicPr>
          <p:nvPr/>
        </p:nvPicPr>
        <p:blipFill>
          <a:blip r:embed="rId53"/>
          <a:srcRect/>
          <a:stretch>
            <a:fillRect/>
          </a:stretch>
        </p:blipFill>
        <p:spPr bwMode="auto">
          <a:xfrm>
            <a:off x="4184650" y="2778125"/>
            <a:ext cx="4445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518" name="Picture 134" descr="B:\1_Kunden\Accenture\1111_PPT_AppEconomy\Bilder\apps\png\1\0.1_App-43.png"/>
          <p:cNvPicPr>
            <a:picLocks noChangeAspect="1" noChangeArrowheads="1"/>
          </p:cNvPicPr>
          <p:nvPr/>
        </p:nvPicPr>
        <p:blipFill>
          <a:blip r:embed="rId54"/>
          <a:srcRect/>
          <a:stretch>
            <a:fillRect/>
          </a:stretch>
        </p:blipFill>
        <p:spPr bwMode="auto">
          <a:xfrm>
            <a:off x="2481263" y="2874963"/>
            <a:ext cx="4445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519" name="Picture 135" descr="B:\1_Kunden\Accenture\1111_PPT_AppEconomy\Bilder\apps\png\1\0.1_App-44.png"/>
          <p:cNvPicPr>
            <a:picLocks noChangeAspect="1" noChangeArrowheads="1"/>
          </p:cNvPicPr>
          <p:nvPr/>
        </p:nvPicPr>
        <p:blipFill>
          <a:blip r:embed="rId55"/>
          <a:srcRect/>
          <a:stretch>
            <a:fillRect/>
          </a:stretch>
        </p:blipFill>
        <p:spPr bwMode="auto">
          <a:xfrm>
            <a:off x="3811588" y="3282950"/>
            <a:ext cx="4445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520" name="Picture 136" descr="B:\1_Kunden\Accenture\1111_PPT_AppEconomy\Bilder\apps\png\1\0.1_App-45.png"/>
          <p:cNvPicPr>
            <a:picLocks noChangeAspect="1" noChangeArrowheads="1"/>
          </p:cNvPicPr>
          <p:nvPr/>
        </p:nvPicPr>
        <p:blipFill>
          <a:blip r:embed="rId56"/>
          <a:srcRect/>
          <a:stretch>
            <a:fillRect/>
          </a:stretch>
        </p:blipFill>
        <p:spPr bwMode="auto">
          <a:xfrm>
            <a:off x="2922588" y="2279650"/>
            <a:ext cx="446087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521" name="Picture 137" descr="B:\1_Kunden\Accenture\1111_PPT_AppEconomy\Bilder\apps\png\1\0.1_App-46.png"/>
          <p:cNvPicPr>
            <a:picLocks noChangeAspect="1" noChangeArrowheads="1"/>
          </p:cNvPicPr>
          <p:nvPr/>
        </p:nvPicPr>
        <p:blipFill>
          <a:blip r:embed="rId57"/>
          <a:srcRect/>
          <a:stretch>
            <a:fillRect/>
          </a:stretch>
        </p:blipFill>
        <p:spPr bwMode="auto">
          <a:xfrm>
            <a:off x="2241550" y="4394200"/>
            <a:ext cx="446088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522" name="Picture 138" descr="B:\1_Kunden\Accenture\1111_PPT_AppEconomy\Bilder\apps\png\1\0.1_App-47.png"/>
          <p:cNvPicPr>
            <a:picLocks noChangeAspect="1" noChangeArrowheads="1"/>
          </p:cNvPicPr>
          <p:nvPr/>
        </p:nvPicPr>
        <p:blipFill>
          <a:blip r:embed="rId58"/>
          <a:srcRect/>
          <a:stretch>
            <a:fillRect/>
          </a:stretch>
        </p:blipFill>
        <p:spPr bwMode="auto">
          <a:xfrm>
            <a:off x="4505325" y="4006850"/>
            <a:ext cx="4445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524" name="Picture 140" descr="B:\1_Kunden\Accenture\1111_PPT_AppEconomy\Bilder\apps\png\2\0.2_App-26.png"/>
          <p:cNvPicPr>
            <a:picLocks noChangeAspect="1" noChangeArrowheads="1"/>
          </p:cNvPicPr>
          <p:nvPr/>
        </p:nvPicPr>
        <p:blipFill>
          <a:blip r:embed="rId59"/>
          <a:srcRect/>
          <a:stretch>
            <a:fillRect/>
          </a:stretch>
        </p:blipFill>
        <p:spPr bwMode="auto">
          <a:xfrm>
            <a:off x="7480300" y="3081338"/>
            <a:ext cx="414338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525" name="Picture 141" descr="B:\1_Kunden\Accenture\1111_PPT_AppEconomy\Bilder\apps\png\2\0.2_App-01.png"/>
          <p:cNvPicPr>
            <a:picLocks noChangeAspect="1" noChangeArrowheads="1"/>
          </p:cNvPicPr>
          <p:nvPr/>
        </p:nvPicPr>
        <p:blipFill>
          <a:blip r:embed="rId60"/>
          <a:srcRect/>
          <a:stretch>
            <a:fillRect/>
          </a:stretch>
        </p:blipFill>
        <p:spPr bwMode="auto">
          <a:xfrm>
            <a:off x="8199438" y="4156075"/>
            <a:ext cx="4191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526" name="Picture 142" descr="B:\1_Kunden\Accenture\1111_PPT_AppEconomy\Bilder\apps\png\2\0.2_App-02.png"/>
          <p:cNvPicPr>
            <a:picLocks noChangeAspect="1" noChangeArrowheads="1"/>
          </p:cNvPicPr>
          <p:nvPr/>
        </p:nvPicPr>
        <p:blipFill>
          <a:blip r:embed="rId61"/>
          <a:srcRect/>
          <a:stretch>
            <a:fillRect/>
          </a:stretch>
        </p:blipFill>
        <p:spPr bwMode="auto">
          <a:xfrm>
            <a:off x="6540500" y="4284663"/>
            <a:ext cx="4191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527" name="Picture 143" descr="B:\1_Kunden\Accenture\1111_PPT_AppEconomy\Bilder\apps\png\2\0.2_App-03.png"/>
          <p:cNvPicPr>
            <a:picLocks noChangeAspect="1" noChangeArrowheads="1"/>
          </p:cNvPicPr>
          <p:nvPr/>
        </p:nvPicPr>
        <p:blipFill>
          <a:blip r:embed="rId62"/>
          <a:srcRect/>
          <a:stretch>
            <a:fillRect/>
          </a:stretch>
        </p:blipFill>
        <p:spPr bwMode="auto">
          <a:xfrm>
            <a:off x="6745288" y="5754688"/>
            <a:ext cx="417512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528" name="Picture 144" descr="B:\1_Kunden\Accenture\1111_PPT_AppEconomy\Bilder\apps\png\2\0.2_App-04.png"/>
          <p:cNvPicPr>
            <a:picLocks noChangeAspect="1" noChangeArrowheads="1"/>
          </p:cNvPicPr>
          <p:nvPr/>
        </p:nvPicPr>
        <p:blipFill>
          <a:blip r:embed="rId63"/>
          <a:srcRect/>
          <a:stretch>
            <a:fillRect/>
          </a:stretch>
        </p:blipFill>
        <p:spPr bwMode="auto">
          <a:xfrm>
            <a:off x="6878638" y="2279650"/>
            <a:ext cx="4191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529" name="Picture 145" descr="B:\1_Kunden\Accenture\1111_PPT_AppEconomy\Bilder\apps\png\2\0.2_App-05.png"/>
          <p:cNvPicPr>
            <a:picLocks noChangeAspect="1" noChangeArrowheads="1"/>
          </p:cNvPicPr>
          <p:nvPr/>
        </p:nvPicPr>
        <p:blipFill>
          <a:blip r:embed="rId64"/>
          <a:srcRect/>
          <a:stretch>
            <a:fillRect/>
          </a:stretch>
        </p:blipFill>
        <p:spPr bwMode="auto">
          <a:xfrm>
            <a:off x="5027613" y="4956175"/>
            <a:ext cx="4191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530" name="Picture 146" descr="B:\1_Kunden\Accenture\1111_PPT_AppEconomy\Bilder\apps\png\2\0.2_App-06.png"/>
          <p:cNvPicPr>
            <a:picLocks noChangeAspect="1" noChangeArrowheads="1"/>
          </p:cNvPicPr>
          <p:nvPr/>
        </p:nvPicPr>
        <p:blipFill>
          <a:blip r:embed="rId65"/>
          <a:srcRect/>
          <a:stretch>
            <a:fillRect/>
          </a:stretch>
        </p:blipFill>
        <p:spPr bwMode="auto">
          <a:xfrm>
            <a:off x="293688" y="4922838"/>
            <a:ext cx="417512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531" name="Picture 147" descr="B:\1_Kunden\Accenture\1111_PPT_AppEconomy\Bilder\apps\png\2\0.2_App-07.png"/>
          <p:cNvPicPr>
            <a:picLocks noChangeAspect="1" noChangeArrowheads="1"/>
          </p:cNvPicPr>
          <p:nvPr/>
        </p:nvPicPr>
        <p:blipFill>
          <a:blip r:embed="rId66"/>
          <a:srcRect/>
          <a:stretch>
            <a:fillRect/>
          </a:stretch>
        </p:blipFill>
        <p:spPr bwMode="auto">
          <a:xfrm>
            <a:off x="3451225" y="4646613"/>
            <a:ext cx="4191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532" name="Picture 148" descr="B:\1_Kunden\Accenture\1111_PPT_AppEconomy\Bilder\apps\png\2\0.2_App-08.png"/>
          <p:cNvPicPr>
            <a:picLocks noChangeAspect="1" noChangeArrowheads="1"/>
          </p:cNvPicPr>
          <p:nvPr/>
        </p:nvPicPr>
        <p:blipFill>
          <a:blip r:embed="rId67"/>
          <a:srcRect/>
          <a:stretch>
            <a:fillRect/>
          </a:stretch>
        </p:blipFill>
        <p:spPr bwMode="auto">
          <a:xfrm>
            <a:off x="5030788" y="5619750"/>
            <a:ext cx="4191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534" name="Picture 150" descr="B:\1_Kunden\Accenture\1111_PPT_AppEconomy\Bilder\apps\png\2\0.2_App-10.png"/>
          <p:cNvPicPr>
            <a:picLocks noChangeAspect="1" noChangeArrowheads="1"/>
          </p:cNvPicPr>
          <p:nvPr/>
        </p:nvPicPr>
        <p:blipFill>
          <a:blip r:embed="rId68"/>
          <a:srcRect/>
          <a:stretch>
            <a:fillRect/>
          </a:stretch>
        </p:blipFill>
        <p:spPr bwMode="auto">
          <a:xfrm>
            <a:off x="3935413" y="1541463"/>
            <a:ext cx="417512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535" name="Picture 151" descr="B:\1_Kunden\Accenture\1111_PPT_AppEconomy\Bilder\apps\png\2\0.2_App-11.png"/>
          <p:cNvPicPr>
            <a:picLocks noChangeAspect="1" noChangeArrowheads="1"/>
          </p:cNvPicPr>
          <p:nvPr/>
        </p:nvPicPr>
        <p:blipFill>
          <a:blip r:embed="rId69"/>
          <a:srcRect/>
          <a:stretch>
            <a:fillRect/>
          </a:stretch>
        </p:blipFill>
        <p:spPr bwMode="auto">
          <a:xfrm>
            <a:off x="627063" y="1793875"/>
            <a:ext cx="4191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536" name="Picture 152" descr="B:\1_Kunden\Accenture\1111_PPT_AppEconomy\Bilder\apps\png\2\0.2_App-12.png"/>
          <p:cNvPicPr>
            <a:picLocks noChangeAspect="1" noChangeArrowheads="1"/>
          </p:cNvPicPr>
          <p:nvPr/>
        </p:nvPicPr>
        <p:blipFill>
          <a:blip r:embed="rId70"/>
          <a:srcRect/>
          <a:stretch>
            <a:fillRect/>
          </a:stretch>
        </p:blipFill>
        <p:spPr bwMode="auto">
          <a:xfrm>
            <a:off x="2493963" y="5602288"/>
            <a:ext cx="4191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537" name="Picture 153" descr="B:\1_Kunden\Accenture\1111_PPT_AppEconomy\Bilder\apps\png\2\0.2_App-13.png"/>
          <p:cNvPicPr>
            <a:picLocks noChangeAspect="1" noChangeArrowheads="1"/>
          </p:cNvPicPr>
          <p:nvPr/>
        </p:nvPicPr>
        <p:blipFill>
          <a:blip r:embed="rId71"/>
          <a:srcRect/>
          <a:stretch>
            <a:fillRect/>
          </a:stretch>
        </p:blipFill>
        <p:spPr bwMode="auto">
          <a:xfrm>
            <a:off x="5545138" y="5970588"/>
            <a:ext cx="4191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538" name="Picture 154" descr="B:\1_Kunden\Accenture\1111_PPT_AppEconomy\Bilder\apps\png\2\0.2_App-14.png"/>
          <p:cNvPicPr>
            <a:picLocks noChangeAspect="1" noChangeArrowheads="1"/>
          </p:cNvPicPr>
          <p:nvPr/>
        </p:nvPicPr>
        <p:blipFill>
          <a:blip r:embed="rId72"/>
          <a:srcRect/>
          <a:stretch>
            <a:fillRect/>
          </a:stretch>
        </p:blipFill>
        <p:spPr bwMode="auto">
          <a:xfrm>
            <a:off x="7016750" y="3724275"/>
            <a:ext cx="414338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539" name="Picture 155" descr="B:\1_Kunden\Accenture\1111_PPT_AppEconomy\Bilder\apps\png\2\0.2_App-15.png"/>
          <p:cNvPicPr>
            <a:picLocks noChangeAspect="1" noChangeArrowheads="1"/>
          </p:cNvPicPr>
          <p:nvPr/>
        </p:nvPicPr>
        <p:blipFill>
          <a:blip r:embed="rId73"/>
          <a:srcRect/>
          <a:stretch>
            <a:fillRect/>
          </a:stretch>
        </p:blipFill>
        <p:spPr bwMode="auto">
          <a:xfrm>
            <a:off x="7058025" y="5186363"/>
            <a:ext cx="414338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540" name="Picture 156" descr="B:\1_Kunden\Accenture\1111_PPT_AppEconomy\Bilder\apps\png\2\0.2_App-16.png"/>
          <p:cNvPicPr>
            <a:picLocks noChangeAspect="1" noChangeArrowheads="1"/>
          </p:cNvPicPr>
          <p:nvPr/>
        </p:nvPicPr>
        <p:blipFill>
          <a:blip r:embed="rId74"/>
          <a:srcRect/>
          <a:stretch>
            <a:fillRect/>
          </a:stretch>
        </p:blipFill>
        <p:spPr bwMode="auto">
          <a:xfrm>
            <a:off x="7759700" y="4691063"/>
            <a:ext cx="414338" cy="433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541" name="Picture 157" descr="B:\1_Kunden\Accenture\1111_PPT_AppEconomy\Bilder\apps\png\2\0.2_App-17.png"/>
          <p:cNvPicPr>
            <a:picLocks noChangeAspect="1" noChangeArrowheads="1"/>
          </p:cNvPicPr>
          <p:nvPr/>
        </p:nvPicPr>
        <p:blipFill>
          <a:blip r:embed="rId75"/>
          <a:srcRect/>
          <a:stretch>
            <a:fillRect/>
          </a:stretch>
        </p:blipFill>
        <p:spPr bwMode="auto">
          <a:xfrm>
            <a:off x="7480300" y="1685925"/>
            <a:ext cx="414338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542" name="Picture 158" descr="B:\1_Kunden\Accenture\1111_PPT_AppEconomy\Bilder\apps\png\2\0.2_App-18.png"/>
          <p:cNvPicPr>
            <a:picLocks noChangeAspect="1" noChangeArrowheads="1"/>
          </p:cNvPicPr>
          <p:nvPr/>
        </p:nvPicPr>
        <p:blipFill>
          <a:blip r:embed="rId76"/>
          <a:srcRect/>
          <a:stretch>
            <a:fillRect/>
          </a:stretch>
        </p:blipFill>
        <p:spPr bwMode="auto">
          <a:xfrm>
            <a:off x="5857875" y="1524000"/>
            <a:ext cx="414338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543" name="Picture 159" descr="B:\1_Kunden\Accenture\1111_PPT_AppEconomy\Bilder\apps\png\2\0.2_App-19.png"/>
          <p:cNvPicPr>
            <a:picLocks noChangeAspect="1" noChangeArrowheads="1"/>
          </p:cNvPicPr>
          <p:nvPr/>
        </p:nvPicPr>
        <p:blipFill>
          <a:blip r:embed="rId77"/>
          <a:srcRect/>
          <a:stretch>
            <a:fillRect/>
          </a:stretch>
        </p:blipFill>
        <p:spPr bwMode="auto">
          <a:xfrm>
            <a:off x="4422775" y="1973263"/>
            <a:ext cx="414338" cy="433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544" name="Picture 160" descr="B:\1_Kunden\Accenture\1111_PPT_AppEconomy\Bilder\apps\png\2\0.2_App-20.png"/>
          <p:cNvPicPr>
            <a:picLocks noChangeAspect="1" noChangeArrowheads="1"/>
          </p:cNvPicPr>
          <p:nvPr/>
        </p:nvPicPr>
        <p:blipFill>
          <a:blip r:embed="rId78"/>
          <a:srcRect/>
          <a:stretch>
            <a:fillRect/>
          </a:stretch>
        </p:blipFill>
        <p:spPr bwMode="auto">
          <a:xfrm>
            <a:off x="8308975" y="1639888"/>
            <a:ext cx="414338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545" name="Picture 161" descr="B:\1_Kunden\Accenture\1111_PPT_AppEconomy\Bilder\apps\png\2\0.2_App-21.png"/>
          <p:cNvPicPr>
            <a:picLocks noChangeAspect="1" noChangeArrowheads="1"/>
          </p:cNvPicPr>
          <p:nvPr/>
        </p:nvPicPr>
        <p:blipFill>
          <a:blip r:embed="rId79"/>
          <a:srcRect/>
          <a:stretch>
            <a:fillRect/>
          </a:stretch>
        </p:blipFill>
        <p:spPr bwMode="auto">
          <a:xfrm>
            <a:off x="6832600" y="1685925"/>
            <a:ext cx="414338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546" name="Picture 162" descr="B:\1_Kunden\Accenture\1111_PPT_AppEconomy\Bilder\apps\png\2\0.2_App-22.png"/>
          <p:cNvPicPr>
            <a:picLocks noChangeAspect="1" noChangeArrowheads="1"/>
          </p:cNvPicPr>
          <p:nvPr/>
        </p:nvPicPr>
        <p:blipFill>
          <a:blip r:embed="rId80"/>
          <a:srcRect/>
          <a:stretch>
            <a:fillRect/>
          </a:stretch>
        </p:blipFill>
        <p:spPr bwMode="auto">
          <a:xfrm>
            <a:off x="7375525" y="2335213"/>
            <a:ext cx="414338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547" name="Picture 163" descr="B:\1_Kunden\Accenture\1111_PPT_AppEconomy\Bilder\apps\png\2\0.2_App-23.png"/>
          <p:cNvPicPr>
            <a:picLocks noChangeAspect="1" noChangeArrowheads="1"/>
          </p:cNvPicPr>
          <p:nvPr/>
        </p:nvPicPr>
        <p:blipFill>
          <a:blip r:embed="rId81"/>
          <a:srcRect/>
          <a:stretch>
            <a:fillRect/>
          </a:stretch>
        </p:blipFill>
        <p:spPr bwMode="auto">
          <a:xfrm>
            <a:off x="8382000" y="3467100"/>
            <a:ext cx="41275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548" name="Picture 164" descr="B:\1_Kunden\Accenture\1111_PPT_AppEconomy\Bilder\apps\png\2\0.2_App-24.png"/>
          <p:cNvPicPr>
            <a:picLocks noChangeAspect="1" noChangeArrowheads="1"/>
          </p:cNvPicPr>
          <p:nvPr/>
        </p:nvPicPr>
        <p:blipFill>
          <a:blip r:embed="rId82"/>
          <a:srcRect/>
          <a:stretch>
            <a:fillRect/>
          </a:stretch>
        </p:blipFill>
        <p:spPr bwMode="auto">
          <a:xfrm>
            <a:off x="8101013" y="2806700"/>
            <a:ext cx="414337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549" name="Picture 165" descr="B:\1_Kunden\Accenture\1111_PPT_AppEconomy\Bilder\apps\png\2\0.2_App-25.png"/>
          <p:cNvPicPr>
            <a:picLocks noChangeAspect="1" noChangeArrowheads="1"/>
          </p:cNvPicPr>
          <p:nvPr/>
        </p:nvPicPr>
        <p:blipFill>
          <a:blip r:embed="rId83"/>
          <a:srcRect/>
          <a:stretch>
            <a:fillRect/>
          </a:stretch>
        </p:blipFill>
        <p:spPr bwMode="auto">
          <a:xfrm>
            <a:off x="7867650" y="2127250"/>
            <a:ext cx="41275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550" name="Picture 166" descr="B:\1_Kunden\Accenture\1111_PPT_AppEconomy\Bilder\apps\png\3\0.3_App-25.png"/>
          <p:cNvPicPr>
            <a:picLocks noChangeAspect="1" noChangeArrowheads="1"/>
          </p:cNvPicPr>
          <p:nvPr/>
        </p:nvPicPr>
        <p:blipFill>
          <a:blip r:embed="rId84"/>
          <a:srcRect/>
          <a:stretch>
            <a:fillRect/>
          </a:stretch>
        </p:blipFill>
        <p:spPr bwMode="auto">
          <a:xfrm>
            <a:off x="4603750" y="1512888"/>
            <a:ext cx="371475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551" name="Picture 167" descr="B:\1_Kunden\Accenture\1111_PPT_AppEconomy\Bilder\apps\png\3\0.3_App-01.png"/>
          <p:cNvPicPr>
            <a:picLocks noChangeAspect="1" noChangeArrowheads="1"/>
          </p:cNvPicPr>
          <p:nvPr/>
        </p:nvPicPr>
        <p:blipFill>
          <a:blip r:embed="rId85"/>
          <a:srcRect/>
          <a:stretch>
            <a:fillRect/>
          </a:stretch>
        </p:blipFill>
        <p:spPr bwMode="auto">
          <a:xfrm>
            <a:off x="214313" y="3435350"/>
            <a:ext cx="4318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552" name="Picture 168" descr="B:\1_Kunden\Accenture\1111_PPT_AppEconomy\Bilder\apps\png\3\0.3_App-02.png"/>
          <p:cNvPicPr>
            <a:picLocks noChangeAspect="1" noChangeArrowheads="1"/>
          </p:cNvPicPr>
          <p:nvPr/>
        </p:nvPicPr>
        <p:blipFill>
          <a:blip r:embed="rId86"/>
          <a:srcRect/>
          <a:stretch>
            <a:fillRect/>
          </a:stretch>
        </p:blipFill>
        <p:spPr bwMode="auto">
          <a:xfrm>
            <a:off x="2079625" y="5959475"/>
            <a:ext cx="4318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553" name="Picture 169" descr="B:\1_Kunden\Accenture\1111_PPT_AppEconomy\Bilder\apps\png\3\0.3_App-03.png"/>
          <p:cNvPicPr>
            <a:picLocks noChangeAspect="1" noChangeArrowheads="1"/>
          </p:cNvPicPr>
          <p:nvPr/>
        </p:nvPicPr>
        <p:blipFill>
          <a:blip r:embed="rId87"/>
          <a:srcRect/>
          <a:stretch>
            <a:fillRect/>
          </a:stretch>
        </p:blipFill>
        <p:spPr bwMode="auto">
          <a:xfrm>
            <a:off x="3968750" y="4716463"/>
            <a:ext cx="4318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554" name="Picture 170" descr="B:\1_Kunden\Accenture\1111_PPT_AppEconomy\Bilder\apps\png\3\0.3_App-04.png"/>
          <p:cNvPicPr>
            <a:picLocks noChangeAspect="1" noChangeArrowheads="1"/>
          </p:cNvPicPr>
          <p:nvPr/>
        </p:nvPicPr>
        <p:blipFill>
          <a:blip r:embed="rId88"/>
          <a:srcRect/>
          <a:stretch>
            <a:fillRect/>
          </a:stretch>
        </p:blipFill>
        <p:spPr bwMode="auto">
          <a:xfrm>
            <a:off x="1147763" y="1470025"/>
            <a:ext cx="4318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555" name="Picture 171" descr="B:\1_Kunden\Accenture\1111_PPT_AppEconomy\Bilder\apps\png\3\0.3_App-05.png"/>
          <p:cNvPicPr>
            <a:picLocks noChangeAspect="1" noChangeArrowheads="1"/>
          </p:cNvPicPr>
          <p:nvPr/>
        </p:nvPicPr>
        <p:blipFill>
          <a:blip r:embed="rId89"/>
          <a:srcRect/>
          <a:stretch>
            <a:fillRect/>
          </a:stretch>
        </p:blipFill>
        <p:spPr bwMode="auto">
          <a:xfrm>
            <a:off x="6858000" y="2874963"/>
            <a:ext cx="4318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556" name="Picture 172" descr="B:\1_Kunden\Accenture\1111_PPT_AppEconomy\Bilder\apps\png\3\0.3_App-06.png"/>
          <p:cNvPicPr>
            <a:picLocks noChangeAspect="1" noChangeArrowheads="1"/>
          </p:cNvPicPr>
          <p:nvPr/>
        </p:nvPicPr>
        <p:blipFill>
          <a:blip r:embed="rId90"/>
          <a:srcRect/>
          <a:stretch>
            <a:fillRect/>
          </a:stretch>
        </p:blipFill>
        <p:spPr bwMode="auto">
          <a:xfrm>
            <a:off x="4352925" y="3556000"/>
            <a:ext cx="433388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557" name="Picture 173" descr="B:\1_Kunden\Accenture\1111_PPT_AppEconomy\Bilder\apps\png\3\0.3_App-07.png"/>
          <p:cNvPicPr>
            <a:picLocks noChangeAspect="1" noChangeArrowheads="1"/>
          </p:cNvPicPr>
          <p:nvPr/>
        </p:nvPicPr>
        <p:blipFill>
          <a:blip r:embed="rId91"/>
          <a:srcRect/>
          <a:stretch>
            <a:fillRect/>
          </a:stretch>
        </p:blipFill>
        <p:spPr bwMode="auto">
          <a:xfrm>
            <a:off x="4422775" y="5943600"/>
            <a:ext cx="4318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558" name="Picture 174" descr="B:\1_Kunden\Accenture\1111_PPT_AppEconomy\Bilder\apps\png\3\0.3_App-08.png"/>
          <p:cNvPicPr>
            <a:picLocks noChangeAspect="1" noChangeArrowheads="1"/>
          </p:cNvPicPr>
          <p:nvPr/>
        </p:nvPicPr>
        <p:blipFill>
          <a:blip r:embed="rId92"/>
          <a:srcRect/>
          <a:stretch>
            <a:fillRect/>
          </a:stretch>
        </p:blipFill>
        <p:spPr bwMode="auto">
          <a:xfrm>
            <a:off x="6243638" y="6051550"/>
            <a:ext cx="4318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559" name="Picture 175" descr="B:\1_Kunden\Accenture\1111_PPT_AppEconomy\Bilder\apps\png\3\0.3_App-09.png"/>
          <p:cNvPicPr>
            <a:picLocks noChangeAspect="1" noChangeArrowheads="1"/>
          </p:cNvPicPr>
          <p:nvPr/>
        </p:nvPicPr>
        <p:blipFill>
          <a:blip r:embed="rId93"/>
          <a:srcRect/>
          <a:stretch>
            <a:fillRect/>
          </a:stretch>
        </p:blipFill>
        <p:spPr bwMode="auto">
          <a:xfrm>
            <a:off x="7489825" y="5541963"/>
            <a:ext cx="5207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560" name="Picture 176" descr="B:\1_Kunden\Accenture\1111_PPT_AppEconomy\Bilder\apps\png\3\0.3_App-10.png"/>
          <p:cNvPicPr>
            <a:picLocks noChangeAspect="1" noChangeArrowheads="1"/>
          </p:cNvPicPr>
          <p:nvPr/>
        </p:nvPicPr>
        <p:blipFill>
          <a:blip r:embed="rId94"/>
          <a:srcRect/>
          <a:stretch>
            <a:fillRect/>
          </a:stretch>
        </p:blipFill>
        <p:spPr bwMode="auto">
          <a:xfrm>
            <a:off x="7740650" y="6051550"/>
            <a:ext cx="433388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561" name="Picture 177" descr="B:\1_Kunden\Accenture\1111_PPT_AppEconomy\Bilder\apps\png\3\0.3_App-11.png"/>
          <p:cNvPicPr>
            <a:picLocks noChangeAspect="1" noChangeArrowheads="1"/>
          </p:cNvPicPr>
          <p:nvPr/>
        </p:nvPicPr>
        <p:blipFill>
          <a:blip r:embed="rId95"/>
          <a:srcRect/>
          <a:stretch>
            <a:fillRect/>
          </a:stretch>
        </p:blipFill>
        <p:spPr bwMode="auto">
          <a:xfrm>
            <a:off x="8245475" y="5745163"/>
            <a:ext cx="4318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562" name="Picture 178" descr="B:\1_Kunden\Accenture\1111_PPT_AppEconomy\Bilder\apps\png\3\0.3_App-12.png"/>
          <p:cNvPicPr>
            <a:picLocks noChangeAspect="1" noChangeArrowheads="1"/>
          </p:cNvPicPr>
          <p:nvPr/>
        </p:nvPicPr>
        <p:blipFill>
          <a:blip r:embed="rId96"/>
          <a:srcRect/>
          <a:stretch>
            <a:fillRect/>
          </a:stretch>
        </p:blipFill>
        <p:spPr bwMode="auto">
          <a:xfrm>
            <a:off x="8382000" y="4865688"/>
            <a:ext cx="4318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563" name="Picture 179" descr="B:\1_Kunden\Accenture\1111_PPT_AppEconomy\Bilder\apps\png\3\0.3_App-13.png"/>
          <p:cNvPicPr>
            <a:picLocks noChangeAspect="1" noChangeArrowheads="1"/>
          </p:cNvPicPr>
          <p:nvPr/>
        </p:nvPicPr>
        <p:blipFill>
          <a:blip r:embed="rId97"/>
          <a:srcRect/>
          <a:stretch>
            <a:fillRect/>
          </a:stretch>
        </p:blipFill>
        <p:spPr bwMode="auto">
          <a:xfrm>
            <a:off x="8326438" y="2335213"/>
            <a:ext cx="4318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564" name="Picture 180" descr="B:\1_Kunden\Accenture\1111_PPT_AppEconomy\Bilder\apps\png\3\0.3_App-14.png"/>
          <p:cNvPicPr>
            <a:picLocks noChangeAspect="1" noChangeArrowheads="1"/>
          </p:cNvPicPr>
          <p:nvPr/>
        </p:nvPicPr>
        <p:blipFill>
          <a:blip r:embed="rId98"/>
          <a:srcRect/>
          <a:stretch>
            <a:fillRect/>
          </a:stretch>
        </p:blipFill>
        <p:spPr bwMode="auto">
          <a:xfrm>
            <a:off x="6062663" y="1955800"/>
            <a:ext cx="4318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565" name="Picture 181" descr="B:\1_Kunden\Accenture\1111_PPT_AppEconomy\Bilder\apps\png\3\0.3_App-15.png"/>
          <p:cNvPicPr>
            <a:picLocks noChangeAspect="1" noChangeArrowheads="1"/>
          </p:cNvPicPr>
          <p:nvPr/>
        </p:nvPicPr>
        <p:blipFill>
          <a:blip r:embed="rId99"/>
          <a:srcRect/>
          <a:stretch>
            <a:fillRect/>
          </a:stretch>
        </p:blipFill>
        <p:spPr bwMode="auto">
          <a:xfrm>
            <a:off x="3359150" y="1716088"/>
            <a:ext cx="4318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566" name="Picture 182" descr="B:\1_Kunden\Accenture\1111_PPT_AppEconomy\Bilder\apps\png\3\0.3_App-16.png"/>
          <p:cNvPicPr>
            <a:picLocks noChangeAspect="1" noChangeArrowheads="1"/>
          </p:cNvPicPr>
          <p:nvPr/>
        </p:nvPicPr>
        <p:blipFill>
          <a:blip r:embed="rId100"/>
          <a:srcRect/>
          <a:stretch>
            <a:fillRect/>
          </a:stretch>
        </p:blipFill>
        <p:spPr bwMode="auto">
          <a:xfrm>
            <a:off x="250825" y="2495550"/>
            <a:ext cx="4318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567" name="Picture 183" descr="B:\1_Kunden\Accenture\1111_PPT_AppEconomy\Bilder\apps\png\3\0.3_App-17.png"/>
          <p:cNvPicPr>
            <a:picLocks noChangeAspect="1" noChangeArrowheads="1"/>
          </p:cNvPicPr>
          <p:nvPr/>
        </p:nvPicPr>
        <p:blipFill>
          <a:blip r:embed="rId101"/>
          <a:srcRect/>
          <a:stretch>
            <a:fillRect/>
          </a:stretch>
        </p:blipFill>
        <p:spPr bwMode="auto">
          <a:xfrm>
            <a:off x="750888" y="5970588"/>
            <a:ext cx="4318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568" name="Picture 184" descr="B:\1_Kunden\Accenture\1111_PPT_AppEconomy\Bilder\apps\png\3\0.3_App-18.png"/>
          <p:cNvPicPr>
            <a:picLocks noChangeAspect="1" noChangeArrowheads="1"/>
          </p:cNvPicPr>
          <p:nvPr/>
        </p:nvPicPr>
        <p:blipFill>
          <a:blip r:embed="rId102"/>
          <a:srcRect/>
          <a:stretch>
            <a:fillRect/>
          </a:stretch>
        </p:blipFill>
        <p:spPr bwMode="auto">
          <a:xfrm>
            <a:off x="2259013" y="4994275"/>
            <a:ext cx="433387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569" name="Picture 185" descr="B:\1_Kunden\Accenture\1111_PPT_AppEconomy\Bilder\apps\png\3\0.3_App-19.png"/>
          <p:cNvPicPr>
            <a:picLocks noChangeAspect="1" noChangeArrowheads="1"/>
          </p:cNvPicPr>
          <p:nvPr/>
        </p:nvPicPr>
        <p:blipFill>
          <a:blip r:embed="rId103"/>
          <a:srcRect/>
          <a:stretch>
            <a:fillRect/>
          </a:stretch>
        </p:blipFill>
        <p:spPr bwMode="auto">
          <a:xfrm>
            <a:off x="3859213" y="6013450"/>
            <a:ext cx="4318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570" name="Picture 186" descr="B:\1_Kunden\Accenture\1111_PPT_AppEconomy\Bilder\apps\png\3\0.3_App-20.png"/>
          <p:cNvPicPr>
            <a:picLocks noChangeAspect="1" noChangeArrowheads="1"/>
          </p:cNvPicPr>
          <p:nvPr/>
        </p:nvPicPr>
        <p:blipFill>
          <a:blip r:embed="rId104"/>
          <a:srcRect/>
          <a:stretch>
            <a:fillRect/>
          </a:stretch>
        </p:blipFill>
        <p:spPr bwMode="auto">
          <a:xfrm>
            <a:off x="7948613" y="5260975"/>
            <a:ext cx="433387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571" name="Picture 187" descr="B:\1_Kunden\Accenture\1111_PPT_AppEconomy\Bilder\apps\png\3\0.3_App-21.png"/>
          <p:cNvPicPr>
            <a:picLocks noChangeAspect="1" noChangeArrowheads="1"/>
          </p:cNvPicPr>
          <p:nvPr/>
        </p:nvPicPr>
        <p:blipFill>
          <a:blip r:embed="rId105"/>
          <a:srcRect/>
          <a:stretch>
            <a:fillRect/>
          </a:stretch>
        </p:blipFill>
        <p:spPr bwMode="auto">
          <a:xfrm>
            <a:off x="6100763" y="5491163"/>
            <a:ext cx="433387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572" name="Picture 188" descr="B:\1_Kunden\Accenture\1111_PPT_AppEconomy\Bilder\apps\png\3\0.3_App-22.png"/>
          <p:cNvPicPr>
            <a:picLocks noChangeAspect="1" noChangeArrowheads="1"/>
          </p:cNvPicPr>
          <p:nvPr/>
        </p:nvPicPr>
        <p:blipFill>
          <a:blip r:embed="rId106"/>
          <a:srcRect/>
          <a:stretch>
            <a:fillRect/>
          </a:stretch>
        </p:blipFill>
        <p:spPr bwMode="auto">
          <a:xfrm>
            <a:off x="5873750" y="4479925"/>
            <a:ext cx="4318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573" name="Picture 189" descr="B:\1_Kunden\Accenture\1111_PPT_AppEconomy\Bilder\apps\png\3\0.3_App-23.png"/>
          <p:cNvPicPr>
            <a:picLocks noChangeAspect="1" noChangeArrowheads="1"/>
          </p:cNvPicPr>
          <p:nvPr/>
        </p:nvPicPr>
        <p:blipFill>
          <a:blip r:embed="rId107"/>
          <a:srcRect/>
          <a:stretch>
            <a:fillRect/>
          </a:stretch>
        </p:blipFill>
        <p:spPr bwMode="auto">
          <a:xfrm>
            <a:off x="7783513" y="3595688"/>
            <a:ext cx="4318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574" name="Picture 190" descr="B:\1_Kunden\Accenture\1111_PPT_AppEconomy\Bilder\apps\png\3\0.3_App-24.png"/>
          <p:cNvPicPr>
            <a:picLocks noChangeAspect="1" noChangeArrowheads="1"/>
          </p:cNvPicPr>
          <p:nvPr/>
        </p:nvPicPr>
        <p:blipFill>
          <a:blip r:embed="rId108"/>
          <a:srcRect/>
          <a:stretch>
            <a:fillRect/>
          </a:stretch>
        </p:blipFill>
        <p:spPr bwMode="auto">
          <a:xfrm>
            <a:off x="7058025" y="4479925"/>
            <a:ext cx="373063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575" name="Picture 191" descr="B:\1_Kunden\Accenture\1111_PPT_AppEconomy\Bilder\apps\png\4\0.4_Apps-17.png"/>
          <p:cNvPicPr>
            <a:picLocks noChangeAspect="1" noChangeArrowheads="1"/>
          </p:cNvPicPr>
          <p:nvPr/>
        </p:nvPicPr>
        <p:blipFill>
          <a:blip r:embed="rId109"/>
          <a:srcRect/>
          <a:stretch>
            <a:fillRect/>
          </a:stretch>
        </p:blipFill>
        <p:spPr bwMode="auto">
          <a:xfrm>
            <a:off x="6423025" y="1500188"/>
            <a:ext cx="428625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577" name="Picture 193" descr="B:\1_Kunden\Accenture\1111_PPT_AppEconomy\Bilder\apps\png\4\0.4_Apps-02.png"/>
          <p:cNvPicPr>
            <a:picLocks noChangeAspect="1" noChangeArrowheads="1"/>
          </p:cNvPicPr>
          <p:nvPr/>
        </p:nvPicPr>
        <p:blipFill>
          <a:blip r:embed="rId110"/>
          <a:srcRect/>
          <a:stretch>
            <a:fillRect/>
          </a:stretch>
        </p:blipFill>
        <p:spPr bwMode="auto">
          <a:xfrm>
            <a:off x="4646613" y="3089275"/>
            <a:ext cx="428625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580" name="Picture 196" descr="B:\1_Kunden\Accenture\1111_PPT_AppEconomy\Bilder\apps\png\4\0.4_Apps-05.png"/>
          <p:cNvPicPr>
            <a:picLocks noChangeAspect="1" noChangeArrowheads="1"/>
          </p:cNvPicPr>
          <p:nvPr/>
        </p:nvPicPr>
        <p:blipFill>
          <a:blip r:embed="rId111"/>
          <a:srcRect/>
          <a:stretch>
            <a:fillRect/>
          </a:stretch>
        </p:blipFill>
        <p:spPr bwMode="auto">
          <a:xfrm>
            <a:off x="5187950" y="1458913"/>
            <a:ext cx="427038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581" name="Picture 197" descr="B:\1_Kunden\Accenture\1111_PPT_AppEconomy\Bilder\apps\png\4\0.4_Apps-06.png"/>
          <p:cNvPicPr>
            <a:picLocks noChangeAspect="1" noChangeArrowheads="1"/>
          </p:cNvPicPr>
          <p:nvPr/>
        </p:nvPicPr>
        <p:blipFill>
          <a:blip r:embed="rId112"/>
          <a:srcRect/>
          <a:stretch>
            <a:fillRect/>
          </a:stretch>
        </p:blipFill>
        <p:spPr bwMode="auto">
          <a:xfrm>
            <a:off x="227013" y="1470025"/>
            <a:ext cx="427037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582" name="Picture 198" descr="B:\1_Kunden\Accenture\1111_PPT_AppEconomy\Bilder\apps\png\4\0.4_Apps-07.png"/>
          <p:cNvPicPr>
            <a:picLocks noChangeAspect="1" noChangeArrowheads="1"/>
          </p:cNvPicPr>
          <p:nvPr/>
        </p:nvPicPr>
        <p:blipFill>
          <a:blip r:embed="rId113"/>
          <a:srcRect/>
          <a:stretch>
            <a:fillRect/>
          </a:stretch>
        </p:blipFill>
        <p:spPr bwMode="auto">
          <a:xfrm>
            <a:off x="5426075" y="4351338"/>
            <a:ext cx="428625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583" name="Picture 199" descr="B:\1_Kunden\Accenture\1111_PPT_AppEconomy\Bilder\apps\png\4\0.4_Apps-08.png"/>
          <p:cNvPicPr>
            <a:picLocks noChangeAspect="1" noChangeArrowheads="1"/>
          </p:cNvPicPr>
          <p:nvPr/>
        </p:nvPicPr>
        <p:blipFill>
          <a:blip r:embed="rId114"/>
          <a:srcRect/>
          <a:stretch>
            <a:fillRect/>
          </a:stretch>
        </p:blipFill>
        <p:spPr bwMode="auto">
          <a:xfrm>
            <a:off x="5564188" y="2406650"/>
            <a:ext cx="428625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584" name="Picture 200" descr="B:\1_Kunden\Accenture\1111_PPT_AppEconomy\Bilder\apps\png\4\0.4_Apps-09.png"/>
          <p:cNvPicPr>
            <a:picLocks noChangeAspect="1" noChangeArrowheads="1"/>
          </p:cNvPicPr>
          <p:nvPr/>
        </p:nvPicPr>
        <p:blipFill>
          <a:blip r:embed="rId115"/>
          <a:srcRect/>
          <a:stretch>
            <a:fillRect/>
          </a:stretch>
        </p:blipFill>
        <p:spPr bwMode="auto">
          <a:xfrm>
            <a:off x="1539875" y="4629150"/>
            <a:ext cx="428625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585" name="Picture 201" descr="B:\1_Kunden\Accenture\1111_PPT_AppEconomy\Bilder\apps\png\4\0.4_Apps-10.png"/>
          <p:cNvPicPr>
            <a:picLocks noChangeAspect="1" noChangeArrowheads="1"/>
          </p:cNvPicPr>
          <p:nvPr/>
        </p:nvPicPr>
        <p:blipFill>
          <a:blip r:embed="rId116"/>
          <a:srcRect/>
          <a:stretch>
            <a:fillRect/>
          </a:stretch>
        </p:blipFill>
        <p:spPr bwMode="auto">
          <a:xfrm>
            <a:off x="269875" y="5646738"/>
            <a:ext cx="428625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586" name="Picture 202" descr="B:\1_Kunden\Accenture\1111_PPT_AppEconomy\Bilder\apps\png\4\0.4_Apps-11.png"/>
          <p:cNvPicPr>
            <a:picLocks noChangeAspect="1" noChangeArrowheads="1"/>
          </p:cNvPicPr>
          <p:nvPr/>
        </p:nvPicPr>
        <p:blipFill>
          <a:blip r:embed="rId117"/>
          <a:srcRect/>
          <a:stretch>
            <a:fillRect/>
          </a:stretch>
        </p:blipFill>
        <p:spPr bwMode="auto">
          <a:xfrm>
            <a:off x="6359525" y="3762375"/>
            <a:ext cx="427038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588" name="Picture 204" descr="B:\1_Kunden\Accenture\1111_PPT_AppEconomy\Bilder\apps\png\4\0.4_Apps-13.png"/>
          <p:cNvPicPr>
            <a:picLocks noChangeAspect="1" noChangeArrowheads="1"/>
          </p:cNvPicPr>
          <p:nvPr/>
        </p:nvPicPr>
        <p:blipFill>
          <a:blip r:embed="rId118"/>
          <a:srcRect/>
          <a:stretch>
            <a:fillRect/>
          </a:stretch>
        </p:blipFill>
        <p:spPr bwMode="auto">
          <a:xfrm>
            <a:off x="2403475" y="1973263"/>
            <a:ext cx="428625" cy="433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590" name="Picture 206" descr="B:\1_Kunden\Accenture\1111_PPT_AppEconomy\Bilder\apps\png\4\0.4_Apps-15.png"/>
          <p:cNvPicPr>
            <a:picLocks noChangeAspect="1" noChangeArrowheads="1"/>
          </p:cNvPicPr>
          <p:nvPr/>
        </p:nvPicPr>
        <p:blipFill>
          <a:blip r:embed="rId119"/>
          <a:srcRect/>
          <a:stretch>
            <a:fillRect/>
          </a:stretch>
        </p:blipFill>
        <p:spPr bwMode="auto">
          <a:xfrm>
            <a:off x="1757363" y="2171700"/>
            <a:ext cx="428625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591" name="Picture 207" descr="B:\1_Kunden\Accenture\1111_PPT_AppEconomy\Bilder\apps\png\4\0.4_Apps-16.png"/>
          <p:cNvPicPr>
            <a:picLocks noChangeAspect="1" noChangeArrowheads="1"/>
          </p:cNvPicPr>
          <p:nvPr/>
        </p:nvPicPr>
        <p:blipFill>
          <a:blip r:embed="rId120"/>
          <a:srcRect/>
          <a:stretch>
            <a:fillRect/>
          </a:stretch>
        </p:blipFill>
        <p:spPr bwMode="auto">
          <a:xfrm>
            <a:off x="7905750" y="1474788"/>
            <a:ext cx="428625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3" name="Rechteck 212"/>
          <p:cNvSpPr/>
          <p:nvPr/>
        </p:nvSpPr>
        <p:spPr bwMode="gray">
          <a:xfrm>
            <a:off x="0" y="1338263"/>
            <a:ext cx="9144000" cy="5519737"/>
          </a:xfrm>
          <a:prstGeom prst="rect">
            <a:avLst/>
          </a:prstGeom>
          <a:solidFill>
            <a:schemeClr val="bg1">
              <a:alpha val="90000"/>
            </a:scheme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lIns="72000" tIns="72000" rIns="72000" bIns="72000"/>
          <a:lstStyle/>
          <a:p>
            <a:pPr>
              <a:spcBef>
                <a:spcPts val="0"/>
              </a:spcBef>
              <a:spcAft>
                <a:spcPts val="300"/>
              </a:spcAft>
              <a:defRPr/>
            </a:pPr>
            <a:endParaRPr lang="en-US" sz="1600" kern="0" dirty="0" err="1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4" name="Inhaltsplatzhalter 3"/>
          <p:cNvSpPr>
            <a:spLocks noGrp="1"/>
          </p:cNvSpPr>
          <p:nvPr>
            <p:ph idx="1"/>
            <p:custDataLst>
              <p:tags r:id="rId5"/>
            </p:custDataLst>
          </p:nvPr>
        </p:nvSpPr>
        <p:spPr bwMode="auto">
          <a:xfrm>
            <a:off x="250825" y="1500188"/>
            <a:ext cx="3168650" cy="4881562"/>
          </a:xfrm>
          <a:noFill/>
        </p:spPr>
        <p:txBody>
          <a:bodyPr tIns="0"/>
          <a:lstStyle/>
          <a:p>
            <a:pPr marL="179388">
              <a:buFont typeface="Arial" charset="0"/>
              <a:buChar char="•"/>
            </a:pPr>
            <a:r>
              <a:rPr lang="en-US" b="1"/>
              <a:t>The number of apps and users are still increasing</a:t>
            </a:r>
          </a:p>
          <a:p>
            <a:pPr marL="179388">
              <a:buFont typeface="Arial" charset="0"/>
              <a:buChar char="•"/>
            </a:pPr>
            <a:r>
              <a:rPr lang="en-US" b="1"/>
              <a:t>Only a small number of apps are commercially successful</a:t>
            </a:r>
          </a:p>
          <a:p>
            <a:pPr marL="179388">
              <a:buFont typeface="Arial" charset="0"/>
              <a:buChar char="•"/>
            </a:pPr>
            <a:r>
              <a:rPr lang="en-US" b="1"/>
              <a:t>Creative business models are needed to secure long-term success</a:t>
            </a:r>
          </a:p>
        </p:txBody>
      </p:sp>
      <p:sp>
        <p:nvSpPr>
          <p:cNvPr id="215" name="TextBox 5"/>
          <p:cNvSpPr txBox="1">
            <a:spLocks/>
          </p:cNvSpPr>
          <p:nvPr/>
        </p:nvSpPr>
        <p:spPr bwMode="auto">
          <a:xfrm>
            <a:off x="250825" y="6373813"/>
            <a:ext cx="8642350" cy="153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marL="292100" indent="-292100">
              <a:tabLst>
                <a:tab pos="190500" algn="r"/>
                <a:tab pos="292100" algn="l"/>
              </a:tabLst>
            </a:pPr>
            <a:r>
              <a:rPr lang="en-US" sz="1000"/>
              <a:t>Source: ACTA 2011, IDC</a:t>
            </a:r>
          </a:p>
        </p:txBody>
      </p:sp>
      <p:graphicFrame>
        <p:nvGraphicFramePr>
          <p:cNvPr id="216" name="Group 63"/>
          <p:cNvGraphicFramePr>
            <a:graphicFrameLocks noGrp="1"/>
          </p:cNvGraphicFramePr>
          <p:nvPr>
            <p:custDataLst>
              <p:tags r:id="rId6"/>
            </p:custDataLst>
          </p:nvPr>
        </p:nvGraphicFramePr>
        <p:xfrm>
          <a:off x="3835400" y="1922463"/>
          <a:ext cx="5064125" cy="3346450"/>
        </p:xfrm>
        <a:graphic>
          <a:graphicData uri="http://schemas.openxmlformats.org/drawingml/2006/table">
            <a:tbl>
              <a:tblPr/>
              <a:tblGrid>
                <a:gridCol w="2677503"/>
                <a:gridCol w="658863"/>
                <a:gridCol w="785027"/>
                <a:gridCol w="942732"/>
              </a:tblGrid>
              <a:tr h="301956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endParaRPr kumimoji="0" lang="en-GB" sz="1600" b="1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sym typeface="Wingdings" pitchFamily="2" charset="2"/>
                      </a:endParaRPr>
                    </a:p>
                  </a:txBody>
                  <a:tcPr marL="0" marR="72000" marT="72000" marB="72000" anchor="b" horzOverflow="overflow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6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sym typeface="Wingdings" pitchFamily="2" charset="2"/>
                        </a:rPr>
                        <a:t>2010</a:t>
                      </a:r>
                    </a:p>
                  </a:txBody>
                  <a:tcPr marL="36000" marR="0" marT="72000" marB="72000" anchor="b" horzOverflow="overflow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6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sym typeface="Wingdings" pitchFamily="2" charset="2"/>
                        </a:rPr>
                        <a:t>2011</a:t>
                      </a:r>
                    </a:p>
                  </a:txBody>
                  <a:tcPr marL="36000" marR="0" marT="72000" marB="72000" anchor="b" horzOverflow="overflow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6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+mj-lt"/>
                          <a:sym typeface="Wingdings" pitchFamily="2" charset="2"/>
                        </a:rPr>
                        <a:t>Growth</a:t>
                      </a:r>
                    </a:p>
                  </a:txBody>
                  <a:tcPr marL="36000" marR="180000" marT="72000" marB="72000" anchor="b" horzOverflow="overflow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6763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 baseline="0" dirty="0" smtClean="0">
                          <a:solidFill>
                            <a:schemeClr val="tx1"/>
                          </a:solidFill>
                          <a:latin typeface="+mj-lt"/>
                        </a:rPr>
                        <a:t>App Store Sales</a:t>
                      </a:r>
                      <a:endParaRPr lang="en-US" sz="1600" b="1" i="0" u="none" strike="noStrike" baseline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72000" marT="72000" marB="72000">
                    <a:lnL>
                      <a:noFill/>
                    </a:lnL>
                    <a:lnR cap="flat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1" i="0" u="none" strike="noStrike" baseline="0" dirty="0" smtClean="0">
                          <a:solidFill>
                            <a:schemeClr val="tx1"/>
                          </a:solidFill>
                          <a:latin typeface="+mj-lt"/>
                        </a:rPr>
                        <a:t>40%</a:t>
                      </a:r>
                      <a:endParaRPr lang="en-US" sz="1600" b="1" i="0" u="none" strike="noStrike" baseline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marT="72000" marB="72000">
                    <a:lnL>
                      <a:noFill/>
                    </a:lnL>
                    <a:lnR cap="flat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1" i="0" u="none" strike="noStrike" baseline="0" dirty="0" smtClean="0">
                          <a:solidFill>
                            <a:schemeClr val="tx1"/>
                          </a:solidFill>
                          <a:latin typeface="+mj-lt"/>
                        </a:rPr>
                        <a:t>59%</a:t>
                      </a:r>
                      <a:endParaRPr lang="en-US" sz="1600" b="1" i="0" u="none" strike="noStrike" baseline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marT="72000" marB="72000">
                    <a:lnL>
                      <a:noFill/>
                    </a:lnL>
                    <a:lnR cap="flat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1" i="0" u="none" strike="noStrike" baseline="0" dirty="0" smtClean="0">
                          <a:solidFill>
                            <a:schemeClr val="accent2"/>
                          </a:solidFill>
                          <a:latin typeface="+mj-lt"/>
                        </a:rPr>
                        <a:t>48%</a:t>
                      </a:r>
                      <a:endParaRPr lang="en-US" sz="1600" b="1" i="0" u="none" strike="noStrike" baseline="0" dirty="0">
                        <a:solidFill>
                          <a:schemeClr val="accent2"/>
                        </a:solidFill>
                        <a:latin typeface="+mj-lt"/>
                      </a:endParaRPr>
                    </a:p>
                  </a:txBody>
                  <a:tcPr marL="0" marR="180000" marT="72000" marB="72000">
                    <a:lnL>
                      <a:noFill/>
                    </a:lnL>
                    <a:lnR cap="flat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6763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 baseline="0" dirty="0" smtClean="0">
                          <a:solidFill>
                            <a:schemeClr val="tx1"/>
                          </a:solidFill>
                          <a:latin typeface="+mj-lt"/>
                        </a:rPr>
                        <a:t>Advertising</a:t>
                      </a:r>
                      <a:endParaRPr lang="en-US" sz="1600" b="1" i="0" u="none" strike="noStrike" baseline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72000" marT="72000" marB="72000">
                    <a:lnL>
                      <a:noFill/>
                    </a:lnL>
                    <a:lnR cap="flat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1" i="0" u="none" strike="noStrike" baseline="0" dirty="0" smtClean="0">
                          <a:solidFill>
                            <a:schemeClr val="tx1"/>
                          </a:solidFill>
                          <a:latin typeface="+mj-lt"/>
                        </a:rPr>
                        <a:t>27%</a:t>
                      </a:r>
                      <a:endParaRPr lang="en-US" sz="1600" b="1" i="0" u="none" strike="noStrike" baseline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marT="72000" marB="72000">
                    <a:lnL>
                      <a:noFill/>
                    </a:lnL>
                    <a:lnR cap="flat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1" i="0" u="none" strike="noStrike" baseline="0" dirty="0" smtClean="0">
                          <a:solidFill>
                            <a:schemeClr val="tx1"/>
                          </a:solidFill>
                          <a:latin typeface="+mj-lt"/>
                        </a:rPr>
                        <a:t>43%</a:t>
                      </a:r>
                      <a:endParaRPr lang="en-US" sz="1600" b="1" i="0" u="none" strike="noStrike" baseline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marT="72000" marB="72000">
                    <a:lnL>
                      <a:noFill/>
                    </a:lnL>
                    <a:lnR cap="flat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1" i="0" u="none" strike="noStrike" baseline="0" dirty="0" smtClean="0">
                          <a:solidFill>
                            <a:schemeClr val="accent2"/>
                          </a:solidFill>
                          <a:latin typeface="+mj-lt"/>
                        </a:rPr>
                        <a:t>59%</a:t>
                      </a:r>
                      <a:endParaRPr lang="en-US" sz="1600" b="1" i="0" u="none" strike="noStrike" baseline="0" dirty="0">
                        <a:solidFill>
                          <a:schemeClr val="accent2"/>
                        </a:solidFill>
                        <a:latin typeface="+mj-lt"/>
                      </a:endParaRPr>
                    </a:p>
                  </a:txBody>
                  <a:tcPr marL="0" marR="180000" marT="72000" marB="72000">
                    <a:lnL>
                      <a:noFill/>
                    </a:lnL>
                    <a:lnR cap="flat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6763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 baseline="0" dirty="0" smtClean="0">
                          <a:solidFill>
                            <a:schemeClr val="tx1"/>
                          </a:solidFill>
                          <a:latin typeface="+mj-lt"/>
                        </a:rPr>
                        <a:t>In-App Purchase</a:t>
                      </a:r>
                      <a:endParaRPr lang="en-US" sz="1600" b="1" i="0" u="none" strike="noStrike" baseline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72000" marT="72000" marB="72000">
                    <a:lnL>
                      <a:noFill/>
                    </a:lnL>
                    <a:lnR cap="flat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1" i="0" u="none" strike="noStrike" baseline="0" dirty="0" smtClean="0">
                          <a:solidFill>
                            <a:schemeClr val="tx1"/>
                          </a:solidFill>
                          <a:latin typeface="+mj-lt"/>
                        </a:rPr>
                        <a:t>27%</a:t>
                      </a:r>
                      <a:endParaRPr lang="en-US" sz="1600" b="1" i="0" u="none" strike="noStrike" baseline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marT="72000" marB="72000">
                    <a:lnL>
                      <a:noFill/>
                    </a:lnL>
                    <a:lnR cap="flat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1" i="0" u="none" strike="noStrike" baseline="0" dirty="0" smtClean="0">
                          <a:solidFill>
                            <a:schemeClr val="tx1"/>
                          </a:solidFill>
                          <a:latin typeface="+mj-lt"/>
                        </a:rPr>
                        <a:t>42%</a:t>
                      </a:r>
                      <a:endParaRPr lang="en-US" sz="1600" b="1" i="0" u="none" strike="noStrike" baseline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marT="72000" marB="72000">
                    <a:lnL>
                      <a:noFill/>
                    </a:lnL>
                    <a:lnR cap="flat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1" i="0" u="none" strike="noStrike" baseline="0" dirty="0" smtClean="0">
                          <a:solidFill>
                            <a:schemeClr val="accent2"/>
                          </a:solidFill>
                          <a:latin typeface="+mj-lt"/>
                        </a:rPr>
                        <a:t>56%</a:t>
                      </a:r>
                      <a:endParaRPr lang="en-US" sz="1600" b="1" i="0" u="none" strike="noStrike" baseline="0" dirty="0">
                        <a:solidFill>
                          <a:schemeClr val="accent2"/>
                        </a:solidFill>
                        <a:latin typeface="+mj-lt"/>
                      </a:endParaRPr>
                    </a:p>
                  </a:txBody>
                  <a:tcPr marL="0" marR="180000" marT="72000" marB="72000">
                    <a:lnL>
                      <a:noFill/>
                    </a:lnL>
                    <a:lnR cap="flat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77404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 spc="-20" baseline="0" dirty="0" smtClean="0">
                          <a:solidFill>
                            <a:schemeClr val="tx1"/>
                          </a:solidFill>
                          <a:latin typeface="+mj-lt"/>
                        </a:rPr>
                        <a:t>Brand Loyalty &amp; Engagement</a:t>
                      </a:r>
                      <a:endParaRPr lang="en-US" sz="1600" b="1" i="0" u="none" strike="noStrike" spc="-20" baseline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72000" marT="72000" marB="72000">
                    <a:lnL>
                      <a:noFill/>
                    </a:lnL>
                    <a:lnR cap="flat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1" i="0" u="none" strike="noStrike" baseline="0" dirty="0" smtClean="0">
                          <a:solidFill>
                            <a:schemeClr val="tx1"/>
                          </a:solidFill>
                          <a:latin typeface="+mj-lt"/>
                        </a:rPr>
                        <a:t>30%</a:t>
                      </a:r>
                      <a:endParaRPr lang="en-US" sz="1600" b="1" i="0" u="none" strike="noStrike" baseline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marT="72000" marB="72000">
                    <a:lnL>
                      <a:noFill/>
                    </a:lnL>
                    <a:lnR cap="flat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1" i="0" u="none" strike="noStrike" baseline="0" dirty="0" smtClean="0">
                          <a:solidFill>
                            <a:schemeClr val="tx1"/>
                          </a:solidFill>
                          <a:latin typeface="+mj-lt"/>
                        </a:rPr>
                        <a:t>34%</a:t>
                      </a:r>
                      <a:endParaRPr lang="en-US" sz="1600" b="1" i="0" u="none" strike="noStrike" baseline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marT="72000" marB="72000">
                    <a:lnL>
                      <a:noFill/>
                    </a:lnL>
                    <a:lnR cap="flat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1" i="0" u="none" strike="noStrike" baseline="0" dirty="0" smtClean="0">
                          <a:solidFill>
                            <a:schemeClr val="accent2"/>
                          </a:solidFill>
                          <a:latin typeface="+mj-lt"/>
                        </a:rPr>
                        <a:t>13%</a:t>
                      </a:r>
                      <a:endParaRPr lang="en-US" sz="1600" b="1" i="0" u="none" strike="noStrike" baseline="0" dirty="0">
                        <a:solidFill>
                          <a:schemeClr val="accent2"/>
                        </a:solidFill>
                        <a:latin typeface="+mj-lt"/>
                      </a:endParaRPr>
                    </a:p>
                  </a:txBody>
                  <a:tcPr marL="0" marR="180000" marT="72000" marB="72000">
                    <a:lnL>
                      <a:noFill/>
                    </a:lnL>
                    <a:lnR cap="flat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6763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 baseline="0" dirty="0" smtClean="0">
                          <a:solidFill>
                            <a:schemeClr val="tx1"/>
                          </a:solidFill>
                          <a:latin typeface="+mj-lt"/>
                        </a:rPr>
                        <a:t>SaaS Subscription</a:t>
                      </a:r>
                      <a:endParaRPr lang="en-US" sz="1600" b="1" i="0" u="none" strike="noStrike" baseline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72000" marT="72000" marB="72000">
                    <a:lnL>
                      <a:noFill/>
                    </a:lnL>
                    <a:lnR cap="flat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1" i="0" u="none" strike="noStrike" baseline="0" dirty="0" smtClean="0">
                          <a:solidFill>
                            <a:schemeClr val="tx1"/>
                          </a:solidFill>
                          <a:latin typeface="+mj-lt"/>
                        </a:rPr>
                        <a:t>18%</a:t>
                      </a:r>
                      <a:endParaRPr lang="en-US" sz="1600" b="1" i="0" u="none" strike="noStrike" baseline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marT="72000" marB="72000">
                    <a:lnL>
                      <a:noFill/>
                    </a:lnL>
                    <a:lnR cap="flat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1" i="0" u="none" strike="noStrike" baseline="0" dirty="0" smtClean="0">
                          <a:solidFill>
                            <a:schemeClr val="tx1"/>
                          </a:solidFill>
                          <a:latin typeface="+mj-lt"/>
                        </a:rPr>
                        <a:t>26%</a:t>
                      </a:r>
                      <a:endParaRPr lang="en-US" sz="1600" b="1" i="0" u="none" strike="noStrike" baseline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marT="72000" marB="72000">
                    <a:lnL>
                      <a:noFill/>
                    </a:lnL>
                    <a:lnR cap="flat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1" i="0" u="none" strike="noStrike" baseline="0" dirty="0" smtClean="0">
                          <a:solidFill>
                            <a:schemeClr val="accent2"/>
                          </a:solidFill>
                          <a:latin typeface="+mj-lt"/>
                        </a:rPr>
                        <a:t>44%</a:t>
                      </a:r>
                      <a:endParaRPr lang="en-US" sz="1600" b="1" i="0" u="none" strike="noStrike" baseline="0" dirty="0">
                        <a:solidFill>
                          <a:schemeClr val="accent2"/>
                        </a:solidFill>
                        <a:latin typeface="+mj-lt"/>
                      </a:endParaRPr>
                    </a:p>
                  </a:txBody>
                  <a:tcPr marL="0" marR="180000" marT="72000" marB="72000">
                    <a:lnL>
                      <a:noFill/>
                    </a:lnL>
                    <a:lnR cap="flat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6763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 baseline="0" dirty="0" smtClean="0">
                          <a:solidFill>
                            <a:schemeClr val="tx1"/>
                          </a:solidFill>
                          <a:latin typeface="+mj-lt"/>
                        </a:rPr>
                        <a:t>Mobile Commerce</a:t>
                      </a:r>
                      <a:endParaRPr lang="en-US" sz="1600" b="1" i="0" u="none" strike="noStrike" baseline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72000" marT="72000" marB="72000">
                    <a:lnL>
                      <a:noFill/>
                    </a:lnL>
                    <a:lnR cap="flat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1" i="0" u="none" strike="noStrike" baseline="0" dirty="0" smtClean="0">
                          <a:solidFill>
                            <a:schemeClr val="tx1"/>
                          </a:solidFill>
                          <a:latin typeface="+mj-lt"/>
                        </a:rPr>
                        <a:t>14%</a:t>
                      </a:r>
                      <a:endParaRPr lang="en-US" sz="1600" b="1" i="0" u="none" strike="noStrike" baseline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marT="72000" marB="72000">
                    <a:lnL>
                      <a:noFill/>
                    </a:lnL>
                    <a:lnR cap="flat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1" i="0" u="none" strike="noStrike" baseline="0" dirty="0" smtClean="0">
                          <a:solidFill>
                            <a:schemeClr val="tx1"/>
                          </a:solidFill>
                          <a:latin typeface="+mj-lt"/>
                        </a:rPr>
                        <a:t>26%</a:t>
                      </a:r>
                      <a:endParaRPr lang="en-US" sz="1600" b="1" i="0" u="none" strike="noStrike" baseline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marT="72000" marB="72000">
                    <a:lnL>
                      <a:noFill/>
                    </a:lnL>
                    <a:lnR cap="flat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1" i="0" u="none" strike="noStrike" baseline="0" dirty="0" smtClean="0">
                          <a:solidFill>
                            <a:schemeClr val="accent2"/>
                          </a:solidFill>
                          <a:latin typeface="+mj-lt"/>
                        </a:rPr>
                        <a:t>86%</a:t>
                      </a:r>
                      <a:endParaRPr lang="en-US" sz="1600" b="1" i="0" u="none" strike="noStrike" baseline="0" dirty="0">
                        <a:solidFill>
                          <a:schemeClr val="accent2"/>
                        </a:solidFill>
                        <a:latin typeface="+mj-lt"/>
                      </a:endParaRPr>
                    </a:p>
                  </a:txBody>
                  <a:tcPr marL="0" marR="180000" marT="72000" marB="72000">
                    <a:lnL>
                      <a:noFill/>
                    </a:lnL>
                    <a:lnR cap="flat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6763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 baseline="0" dirty="0" smtClean="0">
                          <a:solidFill>
                            <a:schemeClr val="tx1"/>
                          </a:solidFill>
                          <a:latin typeface="+mj-lt"/>
                        </a:rPr>
                        <a:t>Coupons / Loyalty</a:t>
                      </a:r>
                      <a:endParaRPr lang="en-US" sz="1600" b="1" i="0" u="none" strike="noStrike" baseline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72000" marT="72000" marB="72000">
                    <a:lnL>
                      <a:noFill/>
                    </a:lnL>
                    <a:lnR cap="flat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1" i="0" u="none" strike="noStrike" baseline="0" dirty="0" smtClean="0">
                          <a:solidFill>
                            <a:schemeClr val="tx1"/>
                          </a:solidFill>
                          <a:latin typeface="+mj-lt"/>
                        </a:rPr>
                        <a:t>6%</a:t>
                      </a:r>
                      <a:endParaRPr lang="en-US" sz="1600" b="1" i="0" u="none" strike="noStrike" baseline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marT="72000" marB="72000">
                    <a:lnL>
                      <a:noFill/>
                    </a:lnL>
                    <a:lnR cap="flat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1" i="0" u="none" strike="noStrike" baseline="0" dirty="0" smtClean="0">
                          <a:solidFill>
                            <a:schemeClr val="tx1"/>
                          </a:solidFill>
                          <a:latin typeface="+mj-lt"/>
                        </a:rPr>
                        <a:t>10%</a:t>
                      </a:r>
                      <a:endParaRPr lang="en-US" sz="1600" b="1" i="0" u="none" strike="noStrike" baseline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marT="72000" marB="72000">
                    <a:lnL>
                      <a:noFill/>
                    </a:lnL>
                    <a:lnR cap="flat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1" i="0" u="none" strike="noStrike" baseline="0" dirty="0" smtClean="0">
                          <a:solidFill>
                            <a:schemeClr val="accent2"/>
                          </a:solidFill>
                          <a:latin typeface="+mj-lt"/>
                        </a:rPr>
                        <a:t>67%</a:t>
                      </a:r>
                      <a:endParaRPr lang="en-US" sz="1600" b="1" i="0" u="none" strike="noStrike" baseline="0" dirty="0">
                        <a:solidFill>
                          <a:schemeClr val="accent2"/>
                        </a:solidFill>
                        <a:latin typeface="+mj-lt"/>
                      </a:endParaRPr>
                    </a:p>
                  </a:txBody>
                  <a:tcPr marL="0" marR="180000" marT="72000" marB="72000">
                    <a:lnL>
                      <a:noFill/>
                    </a:lnL>
                    <a:lnR cap="flat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17" name="TextBox 50"/>
          <p:cNvSpPr txBox="1"/>
          <p:nvPr>
            <p:custDataLst>
              <p:tags r:id="rId7"/>
            </p:custDataLst>
          </p:nvPr>
        </p:nvSpPr>
        <p:spPr>
          <a:xfrm>
            <a:off x="3835400" y="1533525"/>
            <a:ext cx="4452938" cy="319088"/>
          </a:xfrm>
          <a:prstGeom prst="rect">
            <a:avLst/>
          </a:prstGeom>
          <a:noFill/>
        </p:spPr>
        <p:txBody>
          <a:bodyPr lIns="0" tIns="36000" rIns="0" bIns="36000">
            <a:spAutoFit/>
          </a:bodyPr>
          <a:lstStyle>
            <a:defPPr>
              <a:defRPr lang="de-DE"/>
            </a:defPPr>
            <a:lvl1pPr>
              <a:defRPr sz="1600" spc="-10">
                <a:solidFill>
                  <a:schemeClr val="accent2"/>
                </a:solidFill>
              </a:defRPr>
            </a:lvl1pPr>
          </a:lstStyle>
          <a:p>
            <a:pPr>
              <a:defRPr/>
            </a:pPr>
            <a:r>
              <a:rPr lang="en-US" b="1" dirty="0"/>
              <a:t>Used Business Models for Apps, 2011, in %</a:t>
            </a:r>
          </a:p>
        </p:txBody>
      </p:sp>
    </p:spTree>
  </p:cSld>
  <p:clrMapOvr>
    <a:masterClrMapping/>
  </p:clrMapOvr>
  <p:transition spd="slow">
    <p:push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"/>
                                        <p:tgtEl>
                                          <p:spTgt spid="165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3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"/>
                                        <p:tgtEl>
                                          <p:spTgt spid="165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6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"/>
                                        <p:tgtEl>
                                          <p:spTgt spid="164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9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"/>
                                        <p:tgtEl>
                                          <p:spTgt spid="165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2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"/>
                                        <p:tgtEl>
                                          <p:spTgt spid="165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50"/>
                            </p:stCondLst>
                            <p:childTnLst>
                              <p:par>
                                <p:cTn id="25" presetID="10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"/>
                                        <p:tgtEl>
                                          <p:spTgt spid="165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80"/>
                            </p:stCondLst>
                            <p:childTnLst>
                              <p:par>
                                <p:cTn id="29" presetID="10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"/>
                                        <p:tgtEl>
                                          <p:spTgt spid="165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210"/>
                            </p:stCondLst>
                            <p:childTnLst>
                              <p:par>
                                <p:cTn id="33" presetID="10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"/>
                                        <p:tgtEl>
                                          <p:spTgt spid="165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240"/>
                            </p:stCondLst>
                            <p:childTnLst>
                              <p:par>
                                <p:cTn id="37" presetID="10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10"/>
                                        <p:tgtEl>
                                          <p:spTgt spid="165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270"/>
                            </p:stCondLst>
                            <p:childTnLst>
                              <p:par>
                                <p:cTn id="41" presetID="10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10"/>
                                        <p:tgtEl>
                                          <p:spTgt spid="164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300"/>
                            </p:stCondLst>
                            <p:childTnLst>
                              <p:par>
                                <p:cTn id="45" presetID="10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10"/>
                                        <p:tgtEl>
                                          <p:spTgt spid="165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330"/>
                            </p:stCondLst>
                            <p:childTnLst>
                              <p:par>
                                <p:cTn id="49" presetID="10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10"/>
                                        <p:tgtEl>
                                          <p:spTgt spid="165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360"/>
                            </p:stCondLst>
                            <p:childTnLst>
                              <p:par>
                                <p:cTn id="53" presetID="10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10"/>
                                        <p:tgtEl>
                                          <p:spTgt spid="164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390"/>
                            </p:stCondLst>
                            <p:childTnLst>
                              <p:par>
                                <p:cTn id="57" presetID="10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10"/>
                                        <p:tgtEl>
                                          <p:spTgt spid="164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420"/>
                            </p:stCondLst>
                            <p:childTnLst>
                              <p:par>
                                <p:cTn id="61" presetID="10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10"/>
                                        <p:tgtEl>
                                          <p:spTgt spid="165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450"/>
                            </p:stCondLst>
                            <p:childTnLst>
                              <p:par>
                                <p:cTn id="65" presetID="10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10"/>
                                        <p:tgtEl>
                                          <p:spTgt spid="164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480"/>
                            </p:stCondLst>
                            <p:childTnLst>
                              <p:par>
                                <p:cTn id="69" presetID="10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10"/>
                                        <p:tgtEl>
                                          <p:spTgt spid="165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510"/>
                            </p:stCondLst>
                            <p:childTnLst>
                              <p:par>
                                <p:cTn id="73" presetID="10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10"/>
                                        <p:tgtEl>
                                          <p:spTgt spid="165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540"/>
                            </p:stCondLst>
                            <p:childTnLst>
                              <p:par>
                                <p:cTn id="77" presetID="10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10"/>
                                        <p:tgtEl>
                                          <p:spTgt spid="165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570"/>
                            </p:stCondLst>
                            <p:childTnLst>
                              <p:par>
                                <p:cTn id="81" presetID="10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10"/>
                                        <p:tgtEl>
                                          <p:spTgt spid="165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4" fill="hold">
                            <p:stCondLst>
                              <p:cond delay="600"/>
                            </p:stCondLst>
                            <p:childTnLst>
                              <p:par>
                                <p:cTn id="85" presetID="10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10"/>
                                        <p:tgtEl>
                                          <p:spTgt spid="164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8" fill="hold">
                            <p:stCondLst>
                              <p:cond delay="630"/>
                            </p:stCondLst>
                            <p:childTnLst>
                              <p:par>
                                <p:cTn id="89" presetID="10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1" dur="10"/>
                                        <p:tgtEl>
                                          <p:spTgt spid="165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2" fill="hold">
                            <p:stCondLst>
                              <p:cond delay="660"/>
                            </p:stCondLst>
                            <p:childTnLst>
                              <p:par>
                                <p:cTn id="93" presetID="10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5" dur="10"/>
                                        <p:tgtEl>
                                          <p:spTgt spid="165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6" fill="hold">
                            <p:stCondLst>
                              <p:cond delay="690"/>
                            </p:stCondLst>
                            <p:childTnLst>
                              <p:par>
                                <p:cTn id="97" presetID="10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9" dur="10"/>
                                        <p:tgtEl>
                                          <p:spTgt spid="165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0" fill="hold">
                            <p:stCondLst>
                              <p:cond delay="720"/>
                            </p:stCondLst>
                            <p:childTnLst>
                              <p:par>
                                <p:cTn id="101" presetID="10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3" dur="10"/>
                                        <p:tgtEl>
                                          <p:spTgt spid="165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4" fill="hold">
                            <p:stCondLst>
                              <p:cond delay="750"/>
                            </p:stCondLst>
                            <p:childTnLst>
                              <p:par>
                                <p:cTn id="105" presetID="10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7" dur="10"/>
                                        <p:tgtEl>
                                          <p:spTgt spid="165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8" fill="hold">
                            <p:stCondLst>
                              <p:cond delay="780"/>
                            </p:stCondLst>
                            <p:childTnLst>
                              <p:par>
                                <p:cTn id="109" presetID="10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1" dur="10"/>
                                        <p:tgtEl>
                                          <p:spTgt spid="164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2" fill="hold">
                            <p:stCondLst>
                              <p:cond delay="810"/>
                            </p:stCondLst>
                            <p:childTnLst>
                              <p:par>
                                <p:cTn id="113" presetID="10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5" dur="10"/>
                                        <p:tgtEl>
                                          <p:spTgt spid="164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6" fill="hold">
                            <p:stCondLst>
                              <p:cond delay="840"/>
                            </p:stCondLst>
                            <p:childTnLst>
                              <p:par>
                                <p:cTn id="117" presetID="10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9" dur="10"/>
                                        <p:tgtEl>
                                          <p:spTgt spid="165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0" fill="hold">
                            <p:stCondLst>
                              <p:cond delay="870"/>
                            </p:stCondLst>
                            <p:childTnLst>
                              <p:par>
                                <p:cTn id="121" presetID="10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3" dur="10"/>
                                        <p:tgtEl>
                                          <p:spTgt spid="165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4" fill="hold">
                            <p:stCondLst>
                              <p:cond delay="900"/>
                            </p:stCondLst>
                            <p:childTnLst>
                              <p:par>
                                <p:cTn id="125" presetID="10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7" dur="10"/>
                                        <p:tgtEl>
                                          <p:spTgt spid="165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8" fill="hold">
                            <p:stCondLst>
                              <p:cond delay="930"/>
                            </p:stCondLst>
                            <p:childTnLst>
                              <p:par>
                                <p:cTn id="129" presetID="10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1" dur="10"/>
                                        <p:tgtEl>
                                          <p:spTgt spid="165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2" fill="hold">
                            <p:stCondLst>
                              <p:cond delay="960"/>
                            </p:stCondLst>
                            <p:childTnLst>
                              <p:par>
                                <p:cTn id="133" presetID="10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5" dur="10"/>
                                        <p:tgtEl>
                                          <p:spTgt spid="165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6" fill="hold">
                            <p:stCondLst>
                              <p:cond delay="990"/>
                            </p:stCondLst>
                            <p:childTnLst>
                              <p:par>
                                <p:cTn id="137" presetID="10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9" dur="10"/>
                                        <p:tgtEl>
                                          <p:spTgt spid="165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0" fill="hold">
                            <p:stCondLst>
                              <p:cond delay="1020"/>
                            </p:stCondLst>
                            <p:childTnLst>
                              <p:par>
                                <p:cTn id="141" presetID="10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3" dur="10"/>
                                        <p:tgtEl>
                                          <p:spTgt spid="164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4" fill="hold">
                            <p:stCondLst>
                              <p:cond delay="1050"/>
                            </p:stCondLst>
                            <p:childTnLst>
                              <p:par>
                                <p:cTn id="145" presetID="10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7" dur="10"/>
                                        <p:tgtEl>
                                          <p:spTgt spid="165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8" fill="hold">
                            <p:stCondLst>
                              <p:cond delay="1080"/>
                            </p:stCondLst>
                            <p:childTnLst>
                              <p:par>
                                <p:cTn id="149" presetID="10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1" dur="10"/>
                                        <p:tgtEl>
                                          <p:spTgt spid="165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2" fill="hold">
                            <p:stCondLst>
                              <p:cond delay="1110"/>
                            </p:stCondLst>
                            <p:childTnLst>
                              <p:par>
                                <p:cTn id="153" presetID="10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1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5" dur="10"/>
                                        <p:tgtEl>
                                          <p:spTgt spid="165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6" fill="hold">
                            <p:stCondLst>
                              <p:cond delay="1140"/>
                            </p:stCondLst>
                            <p:childTnLst>
                              <p:par>
                                <p:cTn id="157" presetID="10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1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9" dur="10"/>
                                        <p:tgtEl>
                                          <p:spTgt spid="165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0" fill="hold">
                            <p:stCondLst>
                              <p:cond delay="1170"/>
                            </p:stCondLst>
                            <p:childTnLst>
                              <p:par>
                                <p:cTn id="161" presetID="10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1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3" dur="10"/>
                                        <p:tgtEl>
                                          <p:spTgt spid="165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4" fill="hold">
                            <p:stCondLst>
                              <p:cond delay="1200"/>
                            </p:stCondLst>
                            <p:childTnLst>
                              <p:par>
                                <p:cTn id="165" presetID="10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1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7" dur="10"/>
                                        <p:tgtEl>
                                          <p:spTgt spid="165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8" fill="hold">
                            <p:stCondLst>
                              <p:cond delay="1230"/>
                            </p:stCondLst>
                            <p:childTnLst>
                              <p:par>
                                <p:cTn id="169" presetID="10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1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1" dur="10"/>
                                        <p:tgtEl>
                                          <p:spTgt spid="165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2" fill="hold">
                            <p:stCondLst>
                              <p:cond delay="1260"/>
                            </p:stCondLst>
                            <p:childTnLst>
                              <p:par>
                                <p:cTn id="173" presetID="10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1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5" dur="10"/>
                                        <p:tgtEl>
                                          <p:spTgt spid="165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6" fill="hold">
                            <p:stCondLst>
                              <p:cond delay="1290"/>
                            </p:stCondLst>
                            <p:childTnLst>
                              <p:par>
                                <p:cTn id="177" presetID="10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1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9" dur="10"/>
                                        <p:tgtEl>
                                          <p:spTgt spid="164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0" fill="hold">
                            <p:stCondLst>
                              <p:cond delay="1320"/>
                            </p:stCondLst>
                            <p:childTnLst>
                              <p:par>
                                <p:cTn id="181" presetID="10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1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3" dur="10"/>
                                        <p:tgtEl>
                                          <p:spTgt spid="165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4" fill="hold">
                            <p:stCondLst>
                              <p:cond delay="1350"/>
                            </p:stCondLst>
                            <p:childTnLst>
                              <p:par>
                                <p:cTn id="185" presetID="10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1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7" dur="10"/>
                                        <p:tgtEl>
                                          <p:spTgt spid="165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8" fill="hold">
                            <p:stCondLst>
                              <p:cond delay="1380"/>
                            </p:stCondLst>
                            <p:childTnLst>
                              <p:par>
                                <p:cTn id="189" presetID="10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1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1" dur="10"/>
                                        <p:tgtEl>
                                          <p:spTgt spid="165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2" fill="hold">
                            <p:stCondLst>
                              <p:cond delay="1410"/>
                            </p:stCondLst>
                            <p:childTnLst>
                              <p:par>
                                <p:cTn id="193" presetID="10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1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5" dur="10"/>
                                        <p:tgtEl>
                                          <p:spTgt spid="164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6" fill="hold">
                            <p:stCondLst>
                              <p:cond delay="1440"/>
                            </p:stCondLst>
                            <p:childTnLst>
                              <p:par>
                                <p:cTn id="197" presetID="10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1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9" dur="10"/>
                                        <p:tgtEl>
                                          <p:spTgt spid="165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0" fill="hold">
                            <p:stCondLst>
                              <p:cond delay="1470"/>
                            </p:stCondLst>
                            <p:childTnLst>
                              <p:par>
                                <p:cTn id="201" presetID="10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2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3" dur="10"/>
                                        <p:tgtEl>
                                          <p:spTgt spid="164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4" fill="hold">
                            <p:stCondLst>
                              <p:cond delay="1500"/>
                            </p:stCondLst>
                            <p:childTnLst>
                              <p:par>
                                <p:cTn id="205" presetID="10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2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7" dur="10"/>
                                        <p:tgtEl>
                                          <p:spTgt spid="165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8" fill="hold">
                            <p:stCondLst>
                              <p:cond delay="1530"/>
                            </p:stCondLst>
                            <p:childTnLst>
                              <p:par>
                                <p:cTn id="209" presetID="10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2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1" dur="10"/>
                                        <p:tgtEl>
                                          <p:spTgt spid="165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2" fill="hold">
                            <p:stCondLst>
                              <p:cond delay="1560"/>
                            </p:stCondLst>
                            <p:childTnLst>
                              <p:par>
                                <p:cTn id="213" presetID="10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2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5" dur="10"/>
                                        <p:tgtEl>
                                          <p:spTgt spid="165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6" fill="hold">
                            <p:stCondLst>
                              <p:cond delay="1590"/>
                            </p:stCondLst>
                            <p:childTnLst>
                              <p:par>
                                <p:cTn id="217" presetID="10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2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9" dur="10"/>
                                        <p:tgtEl>
                                          <p:spTgt spid="165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0" fill="hold">
                            <p:stCondLst>
                              <p:cond delay="1620"/>
                            </p:stCondLst>
                            <p:childTnLst>
                              <p:par>
                                <p:cTn id="221" presetID="10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2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3" dur="10"/>
                                        <p:tgtEl>
                                          <p:spTgt spid="164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4" fill="hold">
                            <p:stCondLst>
                              <p:cond delay="1650"/>
                            </p:stCondLst>
                            <p:childTnLst>
                              <p:par>
                                <p:cTn id="225" presetID="10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2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7" dur="10"/>
                                        <p:tgtEl>
                                          <p:spTgt spid="164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8" fill="hold">
                            <p:stCondLst>
                              <p:cond delay="1680"/>
                            </p:stCondLst>
                            <p:childTnLst>
                              <p:par>
                                <p:cTn id="229" presetID="10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2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1" dur="10"/>
                                        <p:tgtEl>
                                          <p:spTgt spid="165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2" fill="hold">
                            <p:stCondLst>
                              <p:cond delay="1710"/>
                            </p:stCondLst>
                            <p:childTnLst>
                              <p:par>
                                <p:cTn id="233" presetID="10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2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5" dur="10"/>
                                        <p:tgtEl>
                                          <p:spTgt spid="165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6" fill="hold">
                            <p:stCondLst>
                              <p:cond delay="1740"/>
                            </p:stCondLst>
                            <p:childTnLst>
                              <p:par>
                                <p:cTn id="237" presetID="10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2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9" dur="10"/>
                                        <p:tgtEl>
                                          <p:spTgt spid="165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0" fill="hold">
                            <p:stCondLst>
                              <p:cond delay="1770"/>
                            </p:stCondLst>
                            <p:childTnLst>
                              <p:par>
                                <p:cTn id="241" presetID="10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2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3" dur="10"/>
                                        <p:tgtEl>
                                          <p:spTgt spid="165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4" fill="hold">
                            <p:stCondLst>
                              <p:cond delay="1800"/>
                            </p:stCondLst>
                            <p:childTnLst>
                              <p:par>
                                <p:cTn id="245" presetID="10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2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7" dur="10"/>
                                        <p:tgtEl>
                                          <p:spTgt spid="165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8" fill="hold">
                            <p:stCondLst>
                              <p:cond delay="1830"/>
                            </p:stCondLst>
                            <p:childTnLst>
                              <p:par>
                                <p:cTn id="249" presetID="10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2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1" dur="10"/>
                                        <p:tgtEl>
                                          <p:spTgt spid="165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2" fill="hold">
                            <p:stCondLst>
                              <p:cond delay="1860"/>
                            </p:stCondLst>
                            <p:childTnLst>
                              <p:par>
                                <p:cTn id="253" presetID="10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2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5" dur="10"/>
                                        <p:tgtEl>
                                          <p:spTgt spid="164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6" fill="hold">
                            <p:stCondLst>
                              <p:cond delay="1890"/>
                            </p:stCondLst>
                            <p:childTnLst>
                              <p:par>
                                <p:cTn id="257" presetID="10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2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9" dur="10"/>
                                        <p:tgtEl>
                                          <p:spTgt spid="165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0" fill="hold">
                            <p:stCondLst>
                              <p:cond delay="1920"/>
                            </p:stCondLst>
                            <p:childTnLst>
                              <p:par>
                                <p:cTn id="261" presetID="10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2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3" dur="10"/>
                                        <p:tgtEl>
                                          <p:spTgt spid="165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4" fill="hold">
                            <p:stCondLst>
                              <p:cond delay="1950"/>
                            </p:stCondLst>
                            <p:childTnLst>
                              <p:par>
                                <p:cTn id="265" presetID="10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2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7" dur="10"/>
                                        <p:tgtEl>
                                          <p:spTgt spid="165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8" fill="hold">
                            <p:stCondLst>
                              <p:cond delay="1980"/>
                            </p:stCondLst>
                            <p:childTnLst>
                              <p:par>
                                <p:cTn id="269" presetID="10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2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1" dur="10"/>
                                        <p:tgtEl>
                                          <p:spTgt spid="165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2" fill="hold">
                            <p:stCondLst>
                              <p:cond delay="2010"/>
                            </p:stCondLst>
                            <p:childTnLst>
                              <p:par>
                                <p:cTn id="273" presetID="10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2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5" dur="10"/>
                                        <p:tgtEl>
                                          <p:spTgt spid="164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6" fill="hold">
                            <p:stCondLst>
                              <p:cond delay="2040"/>
                            </p:stCondLst>
                            <p:childTnLst>
                              <p:par>
                                <p:cTn id="277" presetID="10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2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9" dur="10"/>
                                        <p:tgtEl>
                                          <p:spTgt spid="164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0" fill="hold">
                            <p:stCondLst>
                              <p:cond delay="2070"/>
                            </p:stCondLst>
                            <p:childTnLst>
                              <p:par>
                                <p:cTn id="281" presetID="10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2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3" dur="10"/>
                                        <p:tgtEl>
                                          <p:spTgt spid="165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4" fill="hold">
                            <p:stCondLst>
                              <p:cond delay="2100"/>
                            </p:stCondLst>
                            <p:childTnLst>
                              <p:par>
                                <p:cTn id="285" presetID="10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2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7" dur="10"/>
                                        <p:tgtEl>
                                          <p:spTgt spid="165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8" fill="hold">
                            <p:stCondLst>
                              <p:cond delay="2130"/>
                            </p:stCondLst>
                            <p:childTnLst>
                              <p:par>
                                <p:cTn id="289" presetID="10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2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1" dur="10"/>
                                        <p:tgtEl>
                                          <p:spTgt spid="165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2" fill="hold">
                            <p:stCondLst>
                              <p:cond delay="2160"/>
                            </p:stCondLst>
                            <p:childTnLst>
                              <p:par>
                                <p:cTn id="293" presetID="10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2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5" dur="10"/>
                                        <p:tgtEl>
                                          <p:spTgt spid="165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6" fill="hold">
                            <p:stCondLst>
                              <p:cond delay="2190"/>
                            </p:stCondLst>
                            <p:childTnLst>
                              <p:par>
                                <p:cTn id="297" presetID="10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2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9" dur="10"/>
                                        <p:tgtEl>
                                          <p:spTgt spid="165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0" fill="hold">
                            <p:stCondLst>
                              <p:cond delay="2220"/>
                            </p:stCondLst>
                            <p:childTnLst>
                              <p:par>
                                <p:cTn id="301" presetID="10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3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3" dur="10"/>
                                        <p:tgtEl>
                                          <p:spTgt spid="165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4" fill="hold">
                            <p:stCondLst>
                              <p:cond delay="2250"/>
                            </p:stCondLst>
                            <p:childTnLst>
                              <p:par>
                                <p:cTn id="305" presetID="10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3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7" dur="10"/>
                                        <p:tgtEl>
                                          <p:spTgt spid="165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8" fill="hold">
                            <p:stCondLst>
                              <p:cond delay="2280"/>
                            </p:stCondLst>
                            <p:childTnLst>
                              <p:par>
                                <p:cTn id="309" presetID="10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3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1" dur="10"/>
                                        <p:tgtEl>
                                          <p:spTgt spid="164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2" fill="hold">
                            <p:stCondLst>
                              <p:cond delay="2310"/>
                            </p:stCondLst>
                            <p:childTnLst>
                              <p:par>
                                <p:cTn id="313" presetID="10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3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5" dur="10"/>
                                        <p:tgtEl>
                                          <p:spTgt spid="165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6" fill="hold">
                            <p:stCondLst>
                              <p:cond delay="2340"/>
                            </p:stCondLst>
                            <p:childTnLst>
                              <p:par>
                                <p:cTn id="317" presetID="10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3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9" dur="10"/>
                                        <p:tgtEl>
                                          <p:spTgt spid="164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0" fill="hold">
                            <p:stCondLst>
                              <p:cond delay="2370"/>
                            </p:stCondLst>
                            <p:childTnLst>
                              <p:par>
                                <p:cTn id="321" presetID="10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3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3" dur="10"/>
                                        <p:tgtEl>
                                          <p:spTgt spid="165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4" fill="hold">
                            <p:stCondLst>
                              <p:cond delay="2400"/>
                            </p:stCondLst>
                            <p:childTnLst>
                              <p:par>
                                <p:cTn id="325" presetID="10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3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7" dur="10"/>
                                        <p:tgtEl>
                                          <p:spTgt spid="164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8" fill="hold">
                            <p:stCondLst>
                              <p:cond delay="2430"/>
                            </p:stCondLst>
                            <p:childTnLst>
                              <p:par>
                                <p:cTn id="329" presetID="10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3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1" dur="10"/>
                                        <p:tgtEl>
                                          <p:spTgt spid="165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2" fill="hold">
                            <p:stCondLst>
                              <p:cond delay="2460"/>
                            </p:stCondLst>
                            <p:childTnLst>
                              <p:par>
                                <p:cTn id="333" presetID="10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3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5" dur="10"/>
                                        <p:tgtEl>
                                          <p:spTgt spid="165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6" fill="hold">
                            <p:stCondLst>
                              <p:cond delay="2490"/>
                            </p:stCondLst>
                            <p:childTnLst>
                              <p:par>
                                <p:cTn id="337" presetID="10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3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9" dur="10"/>
                                        <p:tgtEl>
                                          <p:spTgt spid="164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0" fill="hold">
                            <p:stCondLst>
                              <p:cond delay="2520"/>
                            </p:stCondLst>
                            <p:childTnLst>
                              <p:par>
                                <p:cTn id="341" presetID="10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3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3" dur="10"/>
                                        <p:tgtEl>
                                          <p:spTgt spid="165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4" fill="hold">
                            <p:stCondLst>
                              <p:cond delay="2550"/>
                            </p:stCondLst>
                            <p:childTnLst>
                              <p:par>
                                <p:cTn id="345" presetID="10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3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7" dur="10"/>
                                        <p:tgtEl>
                                          <p:spTgt spid="165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8" fill="hold">
                            <p:stCondLst>
                              <p:cond delay="2580"/>
                            </p:stCondLst>
                            <p:childTnLst>
                              <p:par>
                                <p:cTn id="349" presetID="10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3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1" dur="10"/>
                                        <p:tgtEl>
                                          <p:spTgt spid="165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2" fill="hold">
                            <p:stCondLst>
                              <p:cond delay="2610"/>
                            </p:stCondLst>
                            <p:childTnLst>
                              <p:par>
                                <p:cTn id="353" presetID="10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3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5" dur="10"/>
                                        <p:tgtEl>
                                          <p:spTgt spid="165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6" fill="hold">
                            <p:stCondLst>
                              <p:cond delay="2640"/>
                            </p:stCondLst>
                            <p:childTnLst>
                              <p:par>
                                <p:cTn id="35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9" dur="10"/>
                                        <p:tgtEl>
                                          <p:spTgt spid="165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0" fill="hold">
                            <p:stCondLst>
                              <p:cond delay="2650"/>
                            </p:stCondLst>
                            <p:childTnLst>
                              <p:par>
                                <p:cTn id="361" presetID="10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3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3" dur="10"/>
                                        <p:tgtEl>
                                          <p:spTgt spid="165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4" fill="hold">
                            <p:stCondLst>
                              <p:cond delay="2680"/>
                            </p:stCondLst>
                            <p:childTnLst>
                              <p:par>
                                <p:cTn id="365" presetID="10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3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7" dur="10"/>
                                        <p:tgtEl>
                                          <p:spTgt spid="164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8" fill="hold">
                            <p:stCondLst>
                              <p:cond delay="2710"/>
                            </p:stCondLst>
                            <p:childTnLst>
                              <p:par>
                                <p:cTn id="369" presetID="10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3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1" dur="10"/>
                                        <p:tgtEl>
                                          <p:spTgt spid="165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2" fill="hold">
                            <p:stCondLst>
                              <p:cond delay="2740"/>
                            </p:stCondLst>
                            <p:childTnLst>
                              <p:par>
                                <p:cTn id="373" presetID="10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3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5" dur="10"/>
                                        <p:tgtEl>
                                          <p:spTgt spid="164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6" fill="hold">
                            <p:stCondLst>
                              <p:cond delay="2770"/>
                            </p:stCondLst>
                            <p:childTnLst>
                              <p:par>
                                <p:cTn id="377" presetID="10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3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9" dur="10"/>
                                        <p:tgtEl>
                                          <p:spTgt spid="164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0" fill="hold">
                            <p:stCondLst>
                              <p:cond delay="2800"/>
                            </p:stCondLst>
                            <p:childTnLst>
                              <p:par>
                                <p:cTn id="381" presetID="10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3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3" dur="10"/>
                                        <p:tgtEl>
                                          <p:spTgt spid="165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4" fill="hold">
                            <p:stCondLst>
                              <p:cond delay="2830"/>
                            </p:stCondLst>
                            <p:childTnLst>
                              <p:par>
                                <p:cTn id="385" presetID="10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3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7" dur="10"/>
                                        <p:tgtEl>
                                          <p:spTgt spid="165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8" fill="hold">
                            <p:stCondLst>
                              <p:cond delay="2860"/>
                            </p:stCondLst>
                            <p:childTnLst>
                              <p:par>
                                <p:cTn id="389" presetID="10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3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1" dur="10"/>
                                        <p:tgtEl>
                                          <p:spTgt spid="165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2" fill="hold">
                            <p:stCondLst>
                              <p:cond delay="2890"/>
                            </p:stCondLst>
                            <p:childTnLst>
                              <p:par>
                                <p:cTn id="393" presetID="10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3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5" dur="10"/>
                                        <p:tgtEl>
                                          <p:spTgt spid="165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6" fill="hold">
                            <p:stCondLst>
                              <p:cond delay="2920"/>
                            </p:stCondLst>
                            <p:childTnLst>
                              <p:par>
                                <p:cTn id="397" presetID="10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3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9" dur="10"/>
                                        <p:tgtEl>
                                          <p:spTgt spid="165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0" fill="hold">
                            <p:stCondLst>
                              <p:cond delay="2950"/>
                            </p:stCondLst>
                            <p:childTnLst>
                              <p:par>
                                <p:cTn id="401" presetID="10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4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3" dur="10"/>
                                        <p:tgtEl>
                                          <p:spTgt spid="165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4" fill="hold">
                            <p:stCondLst>
                              <p:cond delay="2980"/>
                            </p:stCondLst>
                            <p:childTnLst>
                              <p:par>
                                <p:cTn id="405" presetID="10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4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7" dur="10"/>
                                        <p:tgtEl>
                                          <p:spTgt spid="165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8" fill="hold">
                            <p:stCondLst>
                              <p:cond delay="3010"/>
                            </p:stCondLst>
                            <p:childTnLst>
                              <p:par>
                                <p:cTn id="409" presetID="10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4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1" dur="10"/>
                                        <p:tgtEl>
                                          <p:spTgt spid="165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2" fill="hold">
                            <p:stCondLst>
                              <p:cond delay="3040"/>
                            </p:stCondLst>
                            <p:childTnLst>
                              <p:par>
                                <p:cTn id="413" presetID="10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4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5" dur="10"/>
                                        <p:tgtEl>
                                          <p:spTgt spid="165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6" fill="hold">
                            <p:stCondLst>
                              <p:cond delay="3070"/>
                            </p:stCondLst>
                            <p:childTnLst>
                              <p:par>
                                <p:cTn id="417" presetID="10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4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9" dur="10"/>
                                        <p:tgtEl>
                                          <p:spTgt spid="165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0" fill="hold">
                            <p:stCondLst>
                              <p:cond delay="3100"/>
                            </p:stCondLst>
                            <p:childTnLst>
                              <p:par>
                                <p:cTn id="421" presetID="10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4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3" dur="10"/>
                                        <p:tgtEl>
                                          <p:spTgt spid="165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4" fill="hold">
                            <p:stCondLst>
                              <p:cond delay="3130"/>
                            </p:stCondLst>
                            <p:childTnLst>
                              <p:par>
                                <p:cTn id="425" presetID="10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4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7" dur="10"/>
                                        <p:tgtEl>
                                          <p:spTgt spid="165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8" fill="hold">
                            <p:stCondLst>
                              <p:cond delay="3160"/>
                            </p:stCondLst>
                            <p:childTnLst>
                              <p:par>
                                <p:cTn id="429" presetID="10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4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1" dur="10"/>
                                        <p:tgtEl>
                                          <p:spTgt spid="165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2" fill="hold">
                            <p:stCondLst>
                              <p:cond delay="3190"/>
                            </p:stCondLst>
                            <p:childTnLst>
                              <p:par>
                                <p:cTn id="433" presetID="10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4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5" dur="10"/>
                                        <p:tgtEl>
                                          <p:spTgt spid="165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6" fill="hold">
                            <p:stCondLst>
                              <p:cond delay="3220"/>
                            </p:stCondLst>
                            <p:childTnLst>
                              <p:par>
                                <p:cTn id="437" presetID="10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4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9" dur="10"/>
                                        <p:tgtEl>
                                          <p:spTgt spid="164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0" fill="hold">
                            <p:stCondLst>
                              <p:cond delay="3250"/>
                            </p:stCondLst>
                            <p:childTnLst>
                              <p:par>
                                <p:cTn id="441" presetID="10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4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3" dur="10"/>
                                        <p:tgtEl>
                                          <p:spTgt spid="165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4" fill="hold">
                            <p:stCondLst>
                              <p:cond delay="3280"/>
                            </p:stCondLst>
                            <p:childTnLst>
                              <p:par>
                                <p:cTn id="44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7" dur="500"/>
                                        <p:tgtEl>
                                          <p:spTgt spid="2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8" fill="hold">
                            <p:stCondLst>
                              <p:cond delay="3780"/>
                            </p:stCondLst>
                            <p:childTnLst>
                              <p:par>
                                <p:cTn id="44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51" dur="500"/>
                                        <p:tgtEl>
                                          <p:spTgt spid="2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2" fill="hold">
                            <p:stCondLst>
                              <p:cond delay="4280"/>
                            </p:stCondLst>
                            <p:childTnLst>
                              <p:par>
                                <p:cTn id="45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55" dur="500"/>
                                        <p:tgtEl>
                                          <p:spTgt spid="2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6" fill="hold">
                            <p:stCondLst>
                              <p:cond delay="4780"/>
                            </p:stCondLst>
                            <p:childTnLst>
                              <p:par>
                                <p:cTn id="45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59" dur="500"/>
                                        <p:tgtEl>
                                          <p:spTgt spid="2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0" fill="hold">
                            <p:stCondLst>
                              <p:cond delay="5280"/>
                            </p:stCondLst>
                            <p:childTnLst>
                              <p:par>
                                <p:cTn id="461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3" grpId="0" animBg="1"/>
      <p:bldP spid="214" grpId="0"/>
      <p:bldP spid="215" grpId="0"/>
      <p:bldP spid="217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507" name="Object 99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7507" name="think-cell Slide" r:id="rId7" imgW="360" imgH="360" progId="">
              <p:embed/>
            </p:oleObj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>
              <a:defRPr/>
            </a:pPr>
            <a:endParaRPr lang="en-US" sz="1400" kern="0" dirty="0">
              <a:solidFill>
                <a:sysClr val="windowText" lastClr="000000"/>
              </a:solidFill>
              <a:latin typeface="Arial"/>
              <a:cs typeface="+mn-cs"/>
              <a:sym typeface="Arial"/>
            </a:endParaRPr>
          </a:p>
        </p:txBody>
      </p:sp>
      <p:sp>
        <p:nvSpPr>
          <p:cNvPr id="17509" name="Title 3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 smtClean="0">
                <a:latin typeface="Arial" charset="0"/>
              </a:rPr>
              <a:t>…and without the proper content not sustainable</a:t>
            </a: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/>
            </a:extLst>
          </a:blip>
          <a:srcRect/>
          <a:stretch>
            <a:fillRect/>
          </a:stretch>
        </p:blipFill>
        <p:spPr bwMode="auto">
          <a:xfrm>
            <a:off x="255143" y="1593850"/>
            <a:ext cx="8642348" cy="2687230"/>
          </a:xfrm>
          <a:prstGeom prst="rect">
            <a:avLst/>
          </a:prstGeom>
          <a:noFill/>
          <a:ln>
            <a:noFill/>
          </a:ln>
          <a:effectLst>
            <a:outerShdw dist="35921" dir="2700000" algn="ctr" rotWithShape="0">
              <a:schemeClr val="bg2"/>
            </a:outerShdw>
            <a:reflection blurRad="6350" stA="52000" endA="300" endPos="35000" dir="5400000" sy="-100000" algn="bl" rotWithShape="0"/>
          </a:effectLst>
          <a:extLst>
            <a:ext uri="{909E8E84-426E-40DD-AFC4-6F175D3DCCD1}"/>
            <a:ext uri="{91240B29-F687-4F45-9708-019B960494DF}"/>
          </a:extLst>
        </p:spPr>
      </p:pic>
      <p:sp>
        <p:nvSpPr>
          <p:cNvPr id="17511" name="TextBox 7"/>
          <p:cNvSpPr txBox="1">
            <a:spLocks/>
          </p:cNvSpPr>
          <p:nvPr/>
        </p:nvSpPr>
        <p:spPr bwMode="auto">
          <a:xfrm>
            <a:off x="250825" y="6373813"/>
            <a:ext cx="8642350" cy="153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marL="292100" indent="-292100">
              <a:tabLst>
                <a:tab pos="190500" algn="r"/>
                <a:tab pos="292100" algn="l"/>
              </a:tabLst>
            </a:pPr>
            <a:r>
              <a:rPr lang="en-US" sz="1000"/>
              <a:t>Source: Dilbert</a:t>
            </a:r>
          </a:p>
        </p:txBody>
      </p:sp>
    </p:spTree>
  </p:cSld>
  <p:clrMapOvr>
    <a:masterClrMapping/>
  </p:clrMapOvr>
  <p:transition spd="slow">
    <p:push dir="r"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5" name="Textplatzhalter 2"/>
          <p:cNvSpPr>
            <a:spLocks noGrp="1"/>
          </p:cNvSpPr>
          <p:nvPr>
            <p:ph type="body" idx="13"/>
          </p:nvPr>
        </p:nvSpPr>
        <p:spPr bwMode="auto">
          <a:xfrm>
            <a:off x="250825" y="1331913"/>
            <a:ext cx="8642350" cy="385762"/>
          </a:xfrm>
          <a:noFill/>
          <a:ln>
            <a:miter lim="800000"/>
            <a:headEnd/>
            <a:tailEnd/>
          </a:ln>
        </p:spPr>
        <p:txBody>
          <a:bodyPr vert="horz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627" name="Inhaltsplatzhalter 6"/>
          <p:cNvSpPr>
            <a:spLocks noGrp="1"/>
          </p:cNvSpPr>
          <p:nvPr>
            <p:ph idx="1"/>
          </p:nvPr>
        </p:nvSpPr>
        <p:spPr bwMode="auto">
          <a:xfrm>
            <a:off x="250825" y="1770063"/>
            <a:ext cx="8642350" cy="4632325"/>
          </a:xfrm>
          <a:noFill/>
        </p:spPr>
        <p:txBody>
          <a:bodyPr/>
          <a:lstStyle/>
          <a:p>
            <a:pPr marL="179388">
              <a:buFont typeface="Arial" charset="0"/>
              <a:buChar char="•"/>
            </a:pPr>
            <a:r>
              <a:rPr lang="en-US"/>
              <a:t>film</a:t>
            </a:r>
          </a:p>
        </p:txBody>
      </p:sp>
      <p:pic>
        <p:nvPicPr>
          <p:cNvPr id="26629" name="J11220_Acc_Mobility_Summit_v1.wmv">
            <a:hlinkClick r:id="" action="ppaction://media"/>
          </p:cNvPr>
          <p:cNvPicPr>
            <a:picLocks noRot="1" noChangeAspect="1" noChangeArrowheads="1"/>
          </p:cNvPicPr>
          <p:nvPr>
            <a:videoFile r:link="rId1"/>
          </p:nvPr>
        </p:nvPicPr>
        <p:blipFill>
          <a:blip r:embed="rId3"/>
          <a:srcRect/>
          <a:stretch>
            <a:fillRect/>
          </a:stretch>
        </p:blipFill>
        <p:spPr bwMode="auto">
          <a:xfrm>
            <a:off x="0" y="1322388"/>
            <a:ext cx="9144000" cy="514350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0153" fill="hold"/>
                                        <p:tgtEl>
                                          <p:spTgt spid="2662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>
                <p:cTn id="7" fill="hold" display="0">
                  <p:stCondLst>
                    <p:cond delay="indefinite"/>
                  </p:stCondLst>
                  <p:endCondLst>
                    <p:cond evt="onNext" delay="0">
                      <p:tgtEl>
                        <p:sldTgt/>
                      </p:tgtEl>
                    </p:cond>
                    <p:cond evt="onPrev" delay="0">
                      <p:tgtEl>
                        <p:sldTgt/>
                      </p:tgtEl>
                    </p:cond>
                  </p:endCondLst>
                </p:cTn>
                <p:tgtEl>
                  <p:spTgt spid="26629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6629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662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6629"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ieren 1"/>
          <p:cNvGrpSpPr>
            <a:grpSpLocks/>
          </p:cNvGrpSpPr>
          <p:nvPr/>
        </p:nvGrpSpPr>
        <p:grpSpPr bwMode="auto">
          <a:xfrm>
            <a:off x="4010025" y="1951038"/>
            <a:ext cx="4054475" cy="3506787"/>
            <a:chOff x="450850" y="1950642"/>
            <a:chExt cx="7238870" cy="3506764"/>
          </a:xfrm>
        </p:grpSpPr>
        <p:sp>
          <p:nvSpPr>
            <p:cNvPr id="12" name="11.11.2011 18:55:356"/>
            <p:cNvSpPr/>
            <p:nvPr/>
          </p:nvSpPr>
          <p:spPr bwMode="gray">
            <a:xfrm>
              <a:off x="6969801" y="1950642"/>
              <a:ext cx="719919" cy="3603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72009" tIns="72009" rIns="72009" bIns="72009" anchor="b"/>
            <a:lstStyle/>
            <a:p>
              <a:pPr algn="ctr">
                <a:spcBef>
                  <a:spcPts val="0"/>
                </a:spcBef>
                <a:spcAft>
                  <a:spcPts val="300"/>
                </a:spcAft>
                <a:defRPr/>
              </a:pPr>
              <a:r>
                <a:rPr lang="de-DE" b="1" kern="0" dirty="0">
                  <a:latin typeface="Arial" pitchFamily="34" charset="0"/>
                  <a:cs typeface="Arial" pitchFamily="34" charset="0"/>
                </a:rPr>
                <a:t>42</a:t>
              </a:r>
            </a:p>
          </p:txBody>
        </p:sp>
        <p:sp>
          <p:nvSpPr>
            <p:cNvPr id="17" name="11.11.2011 18:55:355"/>
            <p:cNvSpPr/>
            <p:nvPr/>
          </p:nvSpPr>
          <p:spPr bwMode="gray">
            <a:xfrm>
              <a:off x="5677348" y="2409426"/>
              <a:ext cx="719919" cy="36036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72009" tIns="72009" rIns="72009" bIns="72009" anchor="b"/>
            <a:lstStyle/>
            <a:p>
              <a:pPr algn="ctr">
                <a:spcBef>
                  <a:spcPts val="0"/>
                </a:spcBef>
                <a:spcAft>
                  <a:spcPts val="300"/>
                </a:spcAft>
                <a:defRPr/>
              </a:pPr>
              <a:r>
                <a:rPr lang="de-DE" b="1" kern="0" dirty="0">
                  <a:latin typeface="Arial" pitchFamily="34" charset="0"/>
                  <a:cs typeface="Arial" pitchFamily="34" charset="0"/>
                </a:rPr>
                <a:t>37</a:t>
              </a:r>
            </a:p>
          </p:txBody>
        </p:sp>
        <p:sp>
          <p:nvSpPr>
            <p:cNvPr id="18" name="11.11.2011 18:55:354"/>
            <p:cNvSpPr/>
            <p:nvPr/>
          </p:nvSpPr>
          <p:spPr bwMode="gray">
            <a:xfrm>
              <a:off x="4362221" y="2888848"/>
              <a:ext cx="719919" cy="36036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72009" tIns="72009" rIns="72009" bIns="72009" anchor="b"/>
            <a:lstStyle/>
            <a:p>
              <a:pPr algn="ctr">
                <a:spcBef>
                  <a:spcPts val="0"/>
                </a:spcBef>
                <a:spcAft>
                  <a:spcPts val="300"/>
                </a:spcAft>
                <a:defRPr/>
              </a:pPr>
              <a:r>
                <a:rPr lang="de-DE" b="1" kern="0" dirty="0">
                  <a:latin typeface="Arial" pitchFamily="34" charset="0"/>
                  <a:cs typeface="Arial" pitchFamily="34" charset="0"/>
                </a:rPr>
                <a:t>32</a:t>
              </a:r>
            </a:p>
          </p:txBody>
        </p:sp>
        <p:sp>
          <p:nvSpPr>
            <p:cNvPr id="19" name="11.11.2011 18:55:353"/>
            <p:cNvSpPr/>
            <p:nvPr/>
          </p:nvSpPr>
          <p:spPr bwMode="gray">
            <a:xfrm>
              <a:off x="3066934" y="3422244"/>
              <a:ext cx="719919" cy="36036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72009" tIns="72009" rIns="72009" bIns="72009" anchor="b"/>
            <a:lstStyle/>
            <a:p>
              <a:pPr algn="ctr">
                <a:spcBef>
                  <a:spcPts val="0"/>
                </a:spcBef>
                <a:spcAft>
                  <a:spcPts val="300"/>
                </a:spcAft>
                <a:defRPr/>
              </a:pPr>
              <a:r>
                <a:rPr lang="de-DE" b="1" kern="0" dirty="0">
                  <a:latin typeface="Arial" pitchFamily="34" charset="0"/>
                  <a:cs typeface="Arial" pitchFamily="34" charset="0"/>
                </a:rPr>
                <a:t>26</a:t>
              </a:r>
            </a:p>
          </p:txBody>
        </p:sp>
        <p:sp>
          <p:nvSpPr>
            <p:cNvPr id="20" name="11.11.2011 18:55:352"/>
            <p:cNvSpPr/>
            <p:nvPr/>
          </p:nvSpPr>
          <p:spPr bwMode="gray">
            <a:xfrm>
              <a:off x="1757475" y="4165189"/>
              <a:ext cx="719919" cy="36036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72009" tIns="72009" rIns="72009" bIns="72009" anchor="b"/>
            <a:lstStyle/>
            <a:p>
              <a:pPr algn="ctr">
                <a:spcBef>
                  <a:spcPts val="0"/>
                </a:spcBef>
                <a:spcAft>
                  <a:spcPts val="300"/>
                </a:spcAft>
                <a:defRPr/>
              </a:pPr>
              <a:r>
                <a:rPr lang="de-DE" b="1" kern="0" dirty="0">
                  <a:latin typeface="Arial" pitchFamily="34" charset="0"/>
                  <a:cs typeface="Arial" pitchFamily="34" charset="0"/>
                </a:rPr>
                <a:t>18</a:t>
              </a:r>
            </a:p>
          </p:txBody>
        </p:sp>
        <p:sp>
          <p:nvSpPr>
            <p:cNvPr id="21" name="11.11.2011 18:55:351"/>
            <p:cNvSpPr/>
            <p:nvPr/>
          </p:nvSpPr>
          <p:spPr bwMode="gray">
            <a:xfrm>
              <a:off x="450850" y="5097046"/>
              <a:ext cx="719919" cy="3603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72009" rIns="72009" bIns="72009" anchor="b"/>
            <a:lstStyle/>
            <a:p>
              <a:pPr algn="ctr">
                <a:spcBef>
                  <a:spcPts val="0"/>
                </a:spcBef>
                <a:spcAft>
                  <a:spcPts val="300"/>
                </a:spcAft>
                <a:defRPr/>
              </a:pPr>
              <a:r>
                <a:rPr lang="de-DE" b="1" kern="0" dirty="0">
                  <a:latin typeface="Arial" pitchFamily="34" charset="0"/>
                  <a:cs typeface="Arial" pitchFamily="34" charset="0"/>
                </a:rPr>
                <a:t>7</a:t>
              </a:r>
            </a:p>
          </p:txBody>
        </p:sp>
      </p:grpSp>
      <p:sp>
        <p:nvSpPr>
          <p:cNvPr id="16" name="Inhaltsplatzhalter 15"/>
          <p:cNvSpPr>
            <a:spLocks noGrp="1"/>
          </p:cNvSpPr>
          <p:nvPr>
            <p:ph idx="1"/>
          </p:nvPr>
        </p:nvSpPr>
        <p:spPr bwMode="auto">
          <a:xfrm>
            <a:off x="250825" y="1500188"/>
            <a:ext cx="3051175" cy="4881562"/>
          </a:xfrm>
          <a:noFill/>
        </p:spPr>
        <p:txBody>
          <a:bodyPr tIns="0"/>
          <a:lstStyle/>
          <a:p>
            <a:pPr marL="179388">
              <a:buFont typeface="Arial" charset="0"/>
              <a:buChar char="•"/>
            </a:pPr>
            <a:r>
              <a:rPr lang="en-US"/>
              <a:t>Mobile services was already a trillion dollar industry in 2010</a:t>
            </a:r>
          </a:p>
          <a:p>
            <a:pPr marL="179388">
              <a:buFont typeface="Arial" charset="0"/>
              <a:buChar char="•"/>
            </a:pPr>
            <a:r>
              <a:rPr lang="en-US"/>
              <a:t>40+ billion app downloads are expected by the end of 2015</a:t>
            </a:r>
          </a:p>
          <a:p>
            <a:pPr marL="179388">
              <a:buFont typeface="Arial" charset="0"/>
              <a:buChar char="•"/>
            </a:pPr>
            <a:r>
              <a:rPr lang="en-US"/>
              <a:t>Mobile app store revenues will account for about US$3.8 billion in 2011</a:t>
            </a:r>
          </a:p>
          <a:p>
            <a:pPr marL="179388">
              <a:buFont typeface="Arial" charset="0"/>
              <a:buChar char="•"/>
            </a:pPr>
            <a:r>
              <a:rPr lang="en-US"/>
              <a:t>In 2015, mobile internet usage will exceed computer users globally</a:t>
            </a:r>
          </a:p>
          <a:p>
            <a:pPr marL="179388">
              <a:buFont typeface="Arial" charset="0"/>
              <a:buChar char="•"/>
            </a:pPr>
            <a:endParaRPr lang="en-US"/>
          </a:p>
        </p:txBody>
      </p:sp>
      <p:sp>
        <p:nvSpPr>
          <p:cNvPr id="14" name="Textplatzhalter 13"/>
          <p:cNvSpPr>
            <a:spLocks noGrp="1"/>
          </p:cNvSpPr>
          <p:nvPr>
            <p:ph type="body" idx="13"/>
          </p:nvPr>
        </p:nvSpPr>
        <p:spPr bwMode="auto">
          <a:xfrm>
            <a:off x="3848100" y="1471613"/>
            <a:ext cx="5162550" cy="601662"/>
          </a:xfrm>
          <a:noFill/>
          <a:ln>
            <a:miter lim="800000"/>
            <a:headEnd/>
            <a:tailEnd/>
          </a:ln>
        </p:spPr>
        <p:txBody>
          <a:bodyPr vert="horz" numCol="1" anchor="t" anchorCtr="0" compatLnSpc="1">
            <a:prstTxWarp prst="textNoShape">
              <a:avLst/>
            </a:prstTxWarp>
          </a:bodyPr>
          <a:lstStyle/>
          <a:p>
            <a:r>
              <a:rPr lang="en-US" sz="1600"/>
              <a:t>Development of Global Application Downloads 2011, </a:t>
            </a:r>
            <a:br>
              <a:rPr lang="en-US" sz="1600"/>
            </a:br>
            <a:r>
              <a:rPr lang="en-US" sz="1600"/>
              <a:t>in Billion Units</a:t>
            </a:r>
          </a:p>
        </p:txBody>
      </p:sp>
      <p:sp>
        <p:nvSpPr>
          <p:cNvPr id="27652" name="Ti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>
                <a:latin typeface="Arial" charset="0"/>
              </a:rPr>
              <a:t>The App Economy is booming and affecting all areas of life and business</a:t>
            </a:r>
          </a:p>
        </p:txBody>
      </p:sp>
      <p:graphicFrame>
        <p:nvGraphicFramePr>
          <p:cNvPr id="6" name="Diagramm 5"/>
          <p:cNvGraphicFramePr>
            <a:graphicFrameLocks/>
          </p:cNvGraphicFramePr>
          <p:nvPr/>
        </p:nvGraphicFramePr>
        <p:xfrm>
          <a:off x="3813175" y="1755775"/>
          <a:ext cx="5022850" cy="46466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pic>
        <p:nvPicPr>
          <p:cNvPr id="8" name="Picture 2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8"/>
          <a:srcRect/>
          <a:stretch>
            <a:fillRect/>
          </a:stretch>
        </p:blipFill>
        <p:spPr bwMode="auto">
          <a:xfrm>
            <a:off x="8426450" y="2525713"/>
            <a:ext cx="409575" cy="493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4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9"/>
          <a:srcRect/>
          <a:stretch>
            <a:fillRect/>
          </a:stretch>
        </p:blipFill>
        <p:spPr bwMode="auto">
          <a:xfrm>
            <a:off x="8412163" y="3887788"/>
            <a:ext cx="503237" cy="555625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  <a:extLst/>
        </p:spPr>
      </p:pic>
      <p:pic>
        <p:nvPicPr>
          <p:cNvPr id="10" name="Picture 4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0"/>
          <a:srcRect/>
          <a:stretch>
            <a:fillRect/>
          </a:stretch>
        </p:blipFill>
        <p:spPr bwMode="auto">
          <a:xfrm>
            <a:off x="8443913" y="5010150"/>
            <a:ext cx="476250" cy="458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TextBox 49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348663" y="5581650"/>
            <a:ext cx="550862" cy="287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36000" tIns="36000" rIns="36000" bIns="36000">
            <a:spAutoFit/>
          </a:bodyPr>
          <a:lstStyle/>
          <a:p>
            <a:r>
              <a:rPr lang="en-US" sz="1400" b="1">
                <a:solidFill>
                  <a:schemeClr val="tx2"/>
                </a:solidFill>
              </a:rPr>
              <a:t>Other</a:t>
            </a:r>
          </a:p>
        </p:txBody>
      </p:sp>
      <p:sp>
        <p:nvSpPr>
          <p:cNvPr id="22" name="Textfeld 10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50825" y="6373813"/>
            <a:ext cx="8642350" cy="153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>
              <a:tabLst>
                <a:tab pos="190500" algn="r"/>
                <a:tab pos="292100" algn="l"/>
              </a:tabLst>
            </a:pPr>
            <a:r>
              <a:rPr lang="en-US" sz="1000"/>
              <a:t>*Source: BBC News, Gartner, OVUM, ACTA 2011</a:t>
            </a:r>
          </a:p>
        </p:txBody>
      </p:sp>
    </p:spTree>
  </p:cSld>
  <p:clrMapOvr>
    <a:masterClrMapping/>
  </p:clrMapOvr>
  <p:transition spd="slow">
    <p:push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500"/>
                            </p:stCondLst>
                            <p:childTnLst>
                              <p:par>
                                <p:cTn id="13" presetID="22" presetClass="entr" presetSubtype="4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750"/>
                                        <p:tgtEl>
                                          <p:spTgt spid="6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750"/>
                            </p:stCondLst>
                            <p:childTnLst>
                              <p:par>
                                <p:cTn id="17" presetID="22" presetClass="entr" presetSubtype="4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0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750"/>
                                        <p:tgtEl>
                                          <p:spTgt spid="6">
                                            <p:graphicEl>
                                              <a:chart seriesIdx="-4" categoryIdx="0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4000"/>
                            </p:stCondLst>
                            <p:childTnLst>
                              <p:par>
                                <p:cTn id="21" presetID="22" presetClass="entr" presetSubtype="4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1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750"/>
                                        <p:tgtEl>
                                          <p:spTgt spid="6">
                                            <p:graphicEl>
                                              <a:chart seriesIdx="-4" categoryIdx="1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5250"/>
                            </p:stCondLst>
                            <p:childTnLst>
                              <p:par>
                                <p:cTn id="25" presetID="22" presetClass="entr" presetSubtype="4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2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750"/>
                                        <p:tgtEl>
                                          <p:spTgt spid="6">
                                            <p:graphicEl>
                                              <a:chart seriesIdx="-4" categoryIdx="2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6500"/>
                            </p:stCondLst>
                            <p:childTnLst>
                              <p:par>
                                <p:cTn id="29" presetID="22" presetClass="entr" presetSubtype="4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3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750"/>
                                        <p:tgtEl>
                                          <p:spTgt spid="6">
                                            <p:graphicEl>
                                              <a:chart seriesIdx="-4" categoryIdx="3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7750"/>
                            </p:stCondLst>
                            <p:childTnLst>
                              <p:par>
                                <p:cTn id="33" presetID="22" presetClass="entr" presetSubtype="4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4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750"/>
                                        <p:tgtEl>
                                          <p:spTgt spid="6">
                                            <p:graphicEl>
                                              <a:chart seriesIdx="-4" categoryIdx="4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9000"/>
                            </p:stCondLst>
                            <p:childTnLst>
                              <p:par>
                                <p:cTn id="37" presetID="22" presetClass="entr" presetSubtype="4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5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9" dur="750"/>
                                        <p:tgtEl>
                                          <p:spTgt spid="6">
                                            <p:graphicEl>
                                              <a:chart seriesIdx="-4" categoryIdx="5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10250"/>
                            </p:stCondLst>
                            <p:childTnLst>
                              <p:par>
                                <p:cTn id="41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3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10750"/>
                            </p:stCondLst>
                            <p:childTnLst>
                              <p:par>
                                <p:cTn id="45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10750"/>
                            </p:stCondLst>
                            <p:childTnLst>
                              <p:par>
                                <p:cTn id="48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10750"/>
                            </p:stCondLst>
                            <p:childTnLst>
                              <p:par>
                                <p:cTn id="51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10750"/>
                            </p:stCondLst>
                            <p:childTnLst>
                              <p:par>
                                <p:cTn id="54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10750"/>
                            </p:stCondLst>
                            <p:childTnLst>
                              <p:par>
                                <p:cTn id="57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14" grpId="0" build="p"/>
      <p:bldGraphic spid="6" grpId="0">
        <p:bldSub>
          <a:bldChart bld="category"/>
        </p:bldSub>
      </p:bldGraphic>
      <p:bldP spid="11" grpId="0"/>
      <p:bldP spid="22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673" name="Picture 3" descr="B:\1_Kunden\Accenture\1111_PPT_AppEconomy\Bilder\iStock_000017304865Large.jpg"/>
          <p:cNvPicPr>
            <a:picLocks noChangeAspect="1" noChangeArrowheads="1"/>
          </p:cNvPicPr>
          <p:nvPr/>
        </p:nvPicPr>
        <p:blipFill>
          <a:blip r:embed="rId4"/>
          <a:srcRect r="5310" b="13965"/>
          <a:stretch>
            <a:fillRect/>
          </a:stretch>
        </p:blipFill>
        <p:spPr bwMode="auto">
          <a:xfrm>
            <a:off x="0" y="1331913"/>
            <a:ext cx="9144000" cy="5526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Inhaltsplatzhalter 3"/>
          <p:cNvSpPr>
            <a:spLocks noGrp="1"/>
          </p:cNvSpPr>
          <p:nvPr>
            <p:ph idx="1"/>
            <p:custDataLst>
              <p:tags r:id="rId1"/>
            </p:custDataLst>
          </p:nvPr>
        </p:nvSpPr>
        <p:spPr bwMode="auto">
          <a:xfrm>
            <a:off x="250825" y="1500188"/>
            <a:ext cx="8642350" cy="4632325"/>
          </a:xfrm>
          <a:noFill/>
        </p:spPr>
        <p:txBody>
          <a:bodyPr/>
          <a:lstStyle/>
          <a:p>
            <a:pPr marL="0" indent="0">
              <a:buFont typeface="Arial" charset="0"/>
              <a:buNone/>
            </a:pPr>
            <a:r>
              <a:rPr b="1">
                <a:solidFill>
                  <a:schemeClr val="bg1"/>
                </a:solidFill>
              </a:rPr>
              <a:t>App</a:t>
            </a:r>
            <a:br>
              <a:rPr b="1">
                <a:solidFill>
                  <a:schemeClr val="bg1"/>
                </a:solidFill>
              </a:rPr>
            </a:br>
            <a:r>
              <a:rPr>
                <a:solidFill>
                  <a:schemeClr val="bg1"/>
                </a:solidFill>
              </a:rPr>
              <a:t>Als Apps bezeichnet man Zusatzprogramme bzw. -anwendungen, die überwiegend für das Betriebssystem mobiler Geräte wie Smartphones oder Tablet-PCs konzipiert wurden. Der Begriff ist eine Kurzform für das englische Wort Application, was zu deutsch Anwendung bedeutet.</a:t>
            </a:r>
          </a:p>
          <a:p>
            <a:pPr marL="0" indent="0">
              <a:spcBef>
                <a:spcPts val="1800"/>
              </a:spcBef>
              <a:buFont typeface="Arial" charset="0"/>
              <a:buNone/>
            </a:pPr>
            <a:r>
              <a:rPr b="1">
                <a:solidFill>
                  <a:schemeClr val="bg1"/>
                </a:solidFill>
              </a:rPr>
              <a:t>App Economy</a:t>
            </a:r>
            <a:br>
              <a:rPr b="1">
                <a:solidFill>
                  <a:schemeClr val="bg1"/>
                </a:solidFill>
              </a:rPr>
            </a:br>
            <a:r>
              <a:rPr>
                <a:solidFill>
                  <a:schemeClr val="bg1"/>
                </a:solidFill>
              </a:rPr>
              <a:t>Trendbegriff für sämtliche Bestandteile des ökonomischen Umfelds um Softwareanwendungen für mobile Endgeräte und Dienste. Produkte der App-Economy werden typischerweise als </a:t>
            </a:r>
            <a:r>
              <a:rPr i="1">
                <a:solidFill>
                  <a:schemeClr val="bg1"/>
                </a:solidFill>
              </a:rPr>
              <a:t>Apps</a:t>
            </a:r>
            <a:r>
              <a:rPr>
                <a:solidFill>
                  <a:schemeClr val="bg1"/>
                </a:solidFill>
              </a:rPr>
              <a:t> oder </a:t>
            </a:r>
            <a:r>
              <a:rPr i="1">
                <a:solidFill>
                  <a:schemeClr val="bg1"/>
                </a:solidFill>
              </a:rPr>
              <a:t>Widgets</a:t>
            </a:r>
            <a:r>
              <a:rPr>
                <a:solidFill>
                  <a:schemeClr val="bg1"/>
                </a:solidFill>
              </a:rPr>
              <a:t> bezeichnet.</a:t>
            </a:r>
          </a:p>
          <a:p>
            <a:pPr marL="0" indent="0">
              <a:spcBef>
                <a:spcPts val="1800"/>
              </a:spcBef>
              <a:buFont typeface="Arial" charset="0"/>
              <a:buNone/>
            </a:pPr>
            <a:r>
              <a:rPr b="1">
                <a:solidFill>
                  <a:schemeClr val="bg1"/>
                </a:solidFill>
              </a:rPr>
              <a:t>App Marketplace</a:t>
            </a:r>
            <a:br>
              <a:rPr b="1">
                <a:solidFill>
                  <a:schemeClr val="bg1"/>
                </a:solidFill>
              </a:rPr>
            </a:br>
            <a:r>
              <a:rPr>
                <a:solidFill>
                  <a:schemeClr val="bg1"/>
                </a:solidFill>
              </a:rPr>
              <a:t>Sogenannte App Marketplaces sind virtuelle Plattformen, die als Intermediär zwischen App-Entwicklern und Konsumenten agieren. Entwickler stellen ihre Programme auf der Plattform bereit, wo Kunden diese teils kostenlos, teils kostenpflichtig für ihre Endgeräte erwerben können.</a:t>
            </a:r>
          </a:p>
        </p:txBody>
      </p:sp>
      <p:sp>
        <p:nvSpPr>
          <p:cNvPr id="28675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>
                <a:latin typeface="Arial" charset="0"/>
              </a:rPr>
              <a:t>Definitions of “App”, “App Economy” and </a:t>
            </a:r>
            <a:br>
              <a:rPr lang="en-US" smtClean="0">
                <a:latin typeface="Arial" charset="0"/>
              </a:rPr>
            </a:br>
            <a:r>
              <a:rPr lang="en-US" smtClean="0">
                <a:latin typeface="Arial" charset="0"/>
              </a:rPr>
              <a:t>“App Marketplaces”</a:t>
            </a:r>
          </a:p>
        </p:txBody>
      </p:sp>
      <p:sp>
        <p:nvSpPr>
          <p:cNvPr id="6" name="TextBox 5"/>
          <p:cNvSpPr txBox="1">
            <a:spLocks/>
          </p:cNvSpPr>
          <p:nvPr/>
        </p:nvSpPr>
        <p:spPr bwMode="auto">
          <a:xfrm>
            <a:off x="250825" y="6373813"/>
            <a:ext cx="8642350" cy="153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r>
              <a:rPr lang="en-US" sz="1000">
                <a:solidFill>
                  <a:schemeClr val="bg1"/>
                </a:solidFill>
              </a:rPr>
              <a:t>Source: Wirtschaftslexikon Gabler: </a:t>
            </a:r>
            <a:r>
              <a:rPr lang="en-US" sz="1000" u="sng">
                <a:solidFill>
                  <a:schemeClr val="bg1"/>
                </a:solidFill>
              </a:rPr>
              <a:t>http://wirtschaftslexikon.gabler.de/Definition/app-economy.html</a:t>
            </a:r>
            <a:r>
              <a:rPr lang="en-US" sz="1000">
                <a:solidFill>
                  <a:schemeClr val="bg1"/>
                </a:solidFill>
              </a:rPr>
              <a:t>, 2011 </a:t>
            </a:r>
          </a:p>
        </p:txBody>
      </p:sp>
    </p:spTree>
  </p:cSld>
  <p:clrMapOvr>
    <a:masterClrMapping/>
  </p:clrMapOvr>
  <p:transition spd="slow">
    <p:push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3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4500"/>
                            </p:stCondLst>
                            <p:childTnLst>
                              <p:par>
                                <p:cTn id="17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uild="p" advAuto="1000"/>
      <p:bldP spid="6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599" name="Object 47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3599" name="think-cell Slide" r:id="rId27" imgW="360" imgH="360" progId="">
              <p:embed/>
            </p:oleObj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>
              <a:defRPr/>
            </a:pPr>
            <a:endParaRPr lang="en-US" sz="1400" b="1" kern="0" dirty="0">
              <a:solidFill>
                <a:sysClr val="windowText" lastClr="000000"/>
              </a:solidFill>
              <a:latin typeface="Arial"/>
              <a:cs typeface="+mn-cs"/>
              <a:sym typeface="Arial"/>
            </a:endParaRPr>
          </a:p>
        </p:txBody>
      </p:sp>
      <p:sp>
        <p:nvSpPr>
          <p:cNvPr id="13" name="Inhaltsplatzhalter 12"/>
          <p:cNvSpPr>
            <a:spLocks noGrp="1"/>
          </p:cNvSpPr>
          <p:nvPr>
            <p:ph idx="1"/>
          </p:nvPr>
        </p:nvSpPr>
        <p:spPr bwMode="auto">
          <a:xfrm>
            <a:off x="250825" y="1500188"/>
            <a:ext cx="3168650" cy="4881562"/>
          </a:xfrm>
          <a:noFill/>
        </p:spPr>
        <p:txBody>
          <a:bodyPr tIns="0"/>
          <a:lstStyle/>
          <a:p>
            <a:pPr marL="179388">
              <a:buFont typeface="Arial" charset="0"/>
              <a:buChar char="•"/>
            </a:pPr>
            <a:r>
              <a:rPr lang="en-US"/>
              <a:t>Number of marketplaces  and platforms is growing continuously </a:t>
            </a:r>
          </a:p>
          <a:p>
            <a:pPr marL="179388">
              <a:buFont typeface="Arial" charset="0"/>
              <a:buChar char="•"/>
            </a:pPr>
            <a:r>
              <a:rPr lang="en-US"/>
              <a:t>The predominance of both iOS and Android will continue to grow over the next years supplemented by 2 or 3 challengers</a:t>
            </a:r>
          </a:p>
          <a:p>
            <a:pPr marL="179388">
              <a:buFont typeface="Arial" charset="0"/>
              <a:buChar char="•"/>
            </a:pPr>
            <a:r>
              <a:rPr lang="en-US"/>
              <a:t>Scalability, revenue potential and security concerns are the main decision drivers for developers</a:t>
            </a:r>
          </a:p>
          <a:p>
            <a:pPr marL="179388">
              <a:buFont typeface="Arial" charset="0"/>
              <a:buChar char="•"/>
            </a:pPr>
            <a:r>
              <a:rPr lang="en-US"/>
              <a:t>A challenging environment, which encourages innovation is very important for developers</a:t>
            </a:r>
          </a:p>
          <a:p>
            <a:pPr marL="179388">
              <a:buFont typeface="Arial" charset="0"/>
              <a:buChar char="•"/>
            </a:pPr>
            <a:endParaRPr/>
          </a:p>
        </p:txBody>
      </p:sp>
      <p:sp>
        <p:nvSpPr>
          <p:cNvPr id="23602" name="Title 3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 smtClean="0">
                <a:latin typeface="Arial" charset="0"/>
              </a:rPr>
              <a:t>Apps marketplaces will undergo the same development as internet portals; developers will follow the gold rush</a:t>
            </a:r>
          </a:p>
        </p:txBody>
      </p:sp>
      <p:sp>
        <p:nvSpPr>
          <p:cNvPr id="23603" name="TextBox 40"/>
          <p:cNvSpPr txBox="1">
            <a:spLocks/>
          </p:cNvSpPr>
          <p:nvPr/>
        </p:nvSpPr>
        <p:spPr bwMode="auto">
          <a:xfrm>
            <a:off x="250825" y="6373813"/>
            <a:ext cx="8642350" cy="153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marL="292100" indent="-292100">
              <a:tabLst>
                <a:tab pos="190500" algn="r"/>
                <a:tab pos="292100" algn="l"/>
              </a:tabLst>
            </a:pPr>
            <a:r>
              <a:rPr lang="en-US" sz="1000"/>
              <a:t>Source: IDC, OVUM; www.opendevelopment.com/de</a:t>
            </a:r>
          </a:p>
        </p:txBody>
      </p:sp>
      <p:grpSp>
        <p:nvGrpSpPr>
          <p:cNvPr id="7" name="Gruppieren 6"/>
          <p:cNvGrpSpPr>
            <a:grpSpLocks/>
          </p:cNvGrpSpPr>
          <p:nvPr/>
        </p:nvGrpSpPr>
        <p:grpSpPr bwMode="auto">
          <a:xfrm>
            <a:off x="3821113" y="2282825"/>
            <a:ext cx="4951412" cy="631825"/>
            <a:chOff x="3821762" y="2282205"/>
            <a:chExt cx="4951096" cy="632275"/>
          </a:xfrm>
        </p:grpSpPr>
        <p:pic>
          <p:nvPicPr>
            <p:cNvPr id="23647" name="Picture 2"/>
            <p:cNvPicPr>
              <a:picLocks noChangeAspect="1" noChangeArrowheads="1"/>
            </p:cNvPicPr>
            <p:nvPr>
              <p:custDataLst>
                <p:tags r:id="rId22"/>
              </p:custDataLst>
            </p:nvPr>
          </p:nvPicPr>
          <p:blipFill>
            <a:blip r:embed="rId28"/>
            <a:srcRect/>
            <a:stretch>
              <a:fillRect/>
            </a:stretch>
          </p:blipFill>
          <p:spPr bwMode="auto">
            <a:xfrm>
              <a:off x="8339607" y="2282205"/>
              <a:ext cx="433251" cy="5213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3648" name="Rechteck 57"/>
            <p:cNvSpPr>
              <a:spLocks noChangeArrowheads="1"/>
            </p:cNvSpPr>
            <p:nvPr/>
          </p:nvSpPr>
          <p:spPr bwMode="auto">
            <a:xfrm>
              <a:off x="3821762" y="2312876"/>
              <a:ext cx="782265" cy="2769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/>
                <a:t>iPhone </a:t>
              </a:r>
            </a:p>
          </p:txBody>
        </p:sp>
        <p:sp>
          <p:nvSpPr>
            <p:cNvPr id="23649" name="Rechteck 58"/>
            <p:cNvSpPr>
              <a:spLocks noChangeArrowheads="1"/>
            </p:cNvSpPr>
            <p:nvPr/>
          </p:nvSpPr>
          <p:spPr bwMode="auto">
            <a:xfrm>
              <a:off x="3821762" y="2637481"/>
              <a:ext cx="666914" cy="2769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/>
                <a:t>iTablet</a:t>
              </a:r>
            </a:p>
          </p:txBody>
        </p:sp>
        <p:sp>
          <p:nvSpPr>
            <p:cNvPr id="9" name="Rectangle 8"/>
            <p:cNvSpPr/>
            <p:nvPr>
              <p:custDataLst>
                <p:tags r:id="rId23"/>
              </p:custDataLst>
            </p:nvPr>
          </p:nvSpPr>
          <p:spPr bwMode="auto">
            <a:xfrm>
              <a:off x="7669616" y="2666654"/>
              <a:ext cx="380976" cy="217643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  <a:extLst>
              <a:ext uri="{909E8E84-426E-40DD-AFC4-6F175D3DCCD1}"/>
              <a:ext uri="{91240B29-F687-4F45-9708-019B960494DF}"/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fld id="{D339C689-C800-40BC-9A43-5CCE466ED9C5}" type="datetime'''''''''''''''''''''''''''8''''''''''''''7''''%'''''">
                <a:rPr lang="en-US" sz="1600" kern="0">
                  <a:latin typeface="Arial"/>
                  <a:cs typeface="+mn-cs"/>
                  <a:sym typeface="Arial"/>
                </a:rPr>
                <a:pPr>
                  <a:defRPr/>
                </a:pPr>
                <a:t>87%</a:t>
              </a:fld>
              <a:endParaRPr lang="en-US" sz="1600" kern="0" dirty="0">
                <a:latin typeface="Arial"/>
                <a:cs typeface="+mn-cs"/>
                <a:sym typeface="Arial"/>
              </a:endParaRPr>
            </a:p>
          </p:txBody>
        </p:sp>
        <p:sp>
          <p:nvSpPr>
            <p:cNvPr id="28" name="Rectangle 27"/>
            <p:cNvSpPr/>
            <p:nvPr>
              <p:custDataLst>
                <p:tags r:id="rId24"/>
              </p:custDataLst>
            </p:nvPr>
          </p:nvSpPr>
          <p:spPr bwMode="auto">
            <a:xfrm>
              <a:off x="7774385" y="2342573"/>
              <a:ext cx="380976" cy="217643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  <a:extLst>
              <a:ext uri="{909E8E84-426E-40DD-AFC4-6F175D3DCCD1}"/>
              <a:ext uri="{91240B29-F687-4F45-9708-019B960494DF}"/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fld id="{785A1E85-326F-4FDE-9E39-15A1D89C5BB4}" type="datetime'''''9''''''''''''''''''''''''''''''''2''''''''''''''%'">
                <a:rPr lang="en-US" sz="1600" kern="0">
                  <a:latin typeface="Arial"/>
                  <a:cs typeface="+mn-cs"/>
                  <a:sym typeface="Arial"/>
                </a:rPr>
                <a:pPr>
                  <a:defRPr/>
                </a:pPr>
                <a:t>92%</a:t>
              </a:fld>
              <a:endParaRPr lang="en-US" sz="1600" kern="0" dirty="0">
                <a:latin typeface="Arial"/>
                <a:cs typeface="+mn-cs"/>
                <a:sym typeface="Arial"/>
              </a:endParaRPr>
            </a:p>
          </p:txBody>
        </p:sp>
        <p:sp>
          <p:nvSpPr>
            <p:cNvPr id="78" name="Rectangle 29"/>
            <p:cNvSpPr>
              <a:spLocks noChangeArrowheads="1"/>
            </p:cNvSpPr>
            <p:nvPr/>
          </p:nvSpPr>
          <p:spPr bwMode="auto">
            <a:xfrm>
              <a:off x="5786962" y="2353694"/>
              <a:ext cx="1930277" cy="19540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 lIns="0" tIns="0" rIns="0" bIns="0"/>
            <a:lstStyle/>
            <a:p>
              <a:pPr>
                <a:defRPr/>
              </a:pPr>
              <a:endParaRPr lang="en-US" sz="1600"/>
            </a:p>
          </p:txBody>
        </p:sp>
        <p:sp>
          <p:nvSpPr>
            <p:cNvPr id="79" name="Rectangle 30"/>
            <p:cNvSpPr>
              <a:spLocks noChangeArrowheads="1"/>
            </p:cNvSpPr>
            <p:nvPr/>
          </p:nvSpPr>
          <p:spPr bwMode="auto">
            <a:xfrm>
              <a:off x="5786962" y="2677775"/>
              <a:ext cx="1825508" cy="19540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 lIns="0" tIns="0" rIns="0" bIns="0"/>
            <a:lstStyle/>
            <a:p>
              <a:pPr>
                <a:defRPr/>
              </a:pPr>
              <a:endParaRPr lang="en-US" sz="1600"/>
            </a:p>
          </p:txBody>
        </p:sp>
      </p:grpSp>
      <p:grpSp>
        <p:nvGrpSpPr>
          <p:cNvPr id="20" name="Gruppieren 19"/>
          <p:cNvGrpSpPr>
            <a:grpSpLocks/>
          </p:cNvGrpSpPr>
          <p:nvPr/>
        </p:nvGrpSpPr>
        <p:grpSpPr bwMode="auto">
          <a:xfrm>
            <a:off x="3822700" y="3681413"/>
            <a:ext cx="5121275" cy="671512"/>
            <a:chOff x="3822699" y="3681029"/>
            <a:chExt cx="5120729" cy="671336"/>
          </a:xfrm>
        </p:grpSpPr>
        <p:pic>
          <p:nvPicPr>
            <p:cNvPr id="23639" name="Picture 12"/>
            <p:cNvPicPr>
              <a:picLocks noChangeAspect="1" noChangeArrowheads="1"/>
            </p:cNvPicPr>
            <p:nvPr>
              <p:custDataLst>
                <p:tags r:id="rId18"/>
              </p:custDataLst>
            </p:nvPr>
          </p:nvPicPr>
          <p:blipFill>
            <a:blip r:embed="rId29"/>
            <a:srcRect/>
            <a:stretch>
              <a:fillRect/>
            </a:stretch>
          </p:blipFill>
          <p:spPr bwMode="auto">
            <a:xfrm>
              <a:off x="8169037" y="3878449"/>
              <a:ext cx="774391" cy="3368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cxnSp>
          <p:nvCxnSpPr>
            <p:cNvPr id="33" name="Straight Connector 32"/>
            <p:cNvCxnSpPr/>
            <p:nvPr>
              <p:custDataLst>
                <p:tags r:id="rId19"/>
              </p:custDataLst>
            </p:nvPr>
          </p:nvCxnSpPr>
          <p:spPr>
            <a:xfrm>
              <a:off x="3822699" y="3681029"/>
              <a:ext cx="5017553" cy="0"/>
            </a:xfrm>
            <a:prstGeom prst="line">
              <a:avLst/>
            </a:prstGeom>
            <a:ln w="6350">
              <a:solidFill>
                <a:schemeClr val="tx2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641" name="Rechteck 53"/>
            <p:cNvSpPr>
              <a:spLocks noChangeArrowheads="1"/>
            </p:cNvSpPr>
            <p:nvPr/>
          </p:nvSpPr>
          <p:spPr bwMode="auto">
            <a:xfrm>
              <a:off x="3822700" y="3750760"/>
              <a:ext cx="730969" cy="2769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/>
                <a:t>Phone </a:t>
              </a:r>
            </a:p>
          </p:txBody>
        </p:sp>
        <p:sp>
          <p:nvSpPr>
            <p:cNvPr id="23642" name="Rechteck 54"/>
            <p:cNvSpPr>
              <a:spLocks noChangeArrowheads="1"/>
            </p:cNvSpPr>
            <p:nvPr/>
          </p:nvSpPr>
          <p:spPr bwMode="auto">
            <a:xfrm>
              <a:off x="3822700" y="4075366"/>
              <a:ext cx="948978" cy="2769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/>
                <a:t>Playbook</a:t>
              </a:r>
            </a:p>
          </p:txBody>
        </p:sp>
        <p:sp>
          <p:nvSpPr>
            <p:cNvPr id="19" name="Rectangle 18"/>
            <p:cNvSpPr/>
            <p:nvPr>
              <p:custDataLst>
                <p:tags r:id="rId20"/>
              </p:custDataLst>
            </p:nvPr>
          </p:nvSpPr>
          <p:spPr bwMode="auto">
            <a:xfrm>
              <a:off x="6600528" y="4104780"/>
              <a:ext cx="379373" cy="217431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  <a:extLst>
              <a:ext uri="{909E8E84-426E-40DD-AFC4-6F175D3DCCD1}"/>
              <a:ext uri="{91240B29-F687-4F45-9708-019B960494DF}"/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fld id="{60817EB6-1447-4BA7-959D-C933DF933B93}" type="datetime'3''''''''''''''''''''''''''''6''''%'''''''''">
                <a:rPr lang="en-US" sz="1600" kern="0">
                  <a:latin typeface="Arial"/>
                  <a:cs typeface="+mn-cs"/>
                  <a:sym typeface="Arial"/>
                </a:rPr>
                <a:pPr>
                  <a:defRPr/>
                </a:pPr>
                <a:t>36%</a:t>
              </a:fld>
              <a:endParaRPr lang="en-US" sz="1600" kern="0" dirty="0">
                <a:latin typeface="Arial"/>
                <a:cs typeface="+mn-cs"/>
                <a:sym typeface="Arial"/>
              </a:endParaRPr>
            </a:p>
          </p:txBody>
        </p:sp>
        <p:sp>
          <p:nvSpPr>
            <p:cNvPr id="21" name="Rectangle 20"/>
            <p:cNvSpPr/>
            <p:nvPr>
              <p:custDataLst>
                <p:tags r:id="rId21"/>
              </p:custDataLst>
            </p:nvPr>
          </p:nvSpPr>
          <p:spPr bwMode="auto">
            <a:xfrm>
              <a:off x="6640212" y="3781015"/>
              <a:ext cx="380959" cy="217431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  <a:extLst>
              <a:ext uri="{909E8E84-426E-40DD-AFC4-6F175D3DCCD1}"/>
              <a:ext uri="{91240B29-F687-4F45-9708-019B960494DF}"/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fld id="{25DE392A-BC7E-45D7-8762-B02A7559E838}" type="datetime'''''''3''''''''''8''''%'''''''''''''''''''''''">
                <a:rPr lang="en-US" sz="1600" kern="0">
                  <a:latin typeface="Arial"/>
                  <a:cs typeface="+mn-cs"/>
                  <a:sym typeface="Arial"/>
                </a:rPr>
                <a:pPr>
                  <a:defRPr/>
                </a:pPr>
                <a:t>38%</a:t>
              </a:fld>
              <a:endParaRPr lang="en-US" sz="1600" kern="0" dirty="0">
                <a:latin typeface="Arial"/>
                <a:cs typeface="+mn-cs"/>
                <a:sym typeface="Arial"/>
              </a:endParaRPr>
            </a:p>
          </p:txBody>
        </p:sp>
        <p:sp>
          <p:nvSpPr>
            <p:cNvPr id="81" name="Rectangle 33"/>
            <p:cNvSpPr>
              <a:spLocks noChangeArrowheads="1"/>
            </p:cNvSpPr>
            <p:nvPr/>
          </p:nvSpPr>
          <p:spPr bwMode="auto">
            <a:xfrm>
              <a:off x="5786228" y="3792125"/>
              <a:ext cx="798427" cy="193624"/>
            </a:xfrm>
            <a:prstGeom prst="rect">
              <a:avLst/>
            </a:prstGeom>
            <a:solidFill>
              <a:srgbClr val="395682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1240B29-F687-4F45-9708-019B960494DF}"/>
            </a:extLst>
          </p:spPr>
          <p:txBody>
            <a:bodyPr lIns="0" tIns="0" rIns="0" bIns="0"/>
            <a:lstStyle/>
            <a:p>
              <a:pPr>
                <a:defRPr/>
              </a:pPr>
              <a:endParaRPr lang="en-US" sz="1600"/>
            </a:p>
          </p:txBody>
        </p:sp>
        <p:sp>
          <p:nvSpPr>
            <p:cNvPr id="82" name="Rectangle 34"/>
            <p:cNvSpPr>
              <a:spLocks noChangeArrowheads="1"/>
            </p:cNvSpPr>
            <p:nvPr/>
          </p:nvSpPr>
          <p:spPr bwMode="auto">
            <a:xfrm>
              <a:off x="5786228" y="4117477"/>
              <a:ext cx="757156" cy="193624"/>
            </a:xfrm>
            <a:prstGeom prst="rect">
              <a:avLst/>
            </a:prstGeom>
            <a:solidFill>
              <a:srgbClr val="395682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1240B29-F687-4F45-9708-019B960494DF}"/>
            </a:extLst>
          </p:spPr>
          <p:txBody>
            <a:bodyPr lIns="0" tIns="0" rIns="0" bIns="0"/>
            <a:lstStyle/>
            <a:p>
              <a:pPr>
                <a:defRPr/>
              </a:pPr>
              <a:endParaRPr lang="en-US" sz="1600"/>
            </a:p>
          </p:txBody>
        </p:sp>
      </p:grpSp>
      <p:grpSp>
        <p:nvGrpSpPr>
          <p:cNvPr id="24" name="Gruppieren 23"/>
          <p:cNvGrpSpPr>
            <a:grpSpLocks/>
          </p:cNvGrpSpPr>
          <p:nvPr/>
        </p:nvGrpSpPr>
        <p:grpSpPr bwMode="auto">
          <a:xfrm>
            <a:off x="3814763" y="5119688"/>
            <a:ext cx="5026025" cy="1319212"/>
            <a:chOff x="3815382" y="5118914"/>
            <a:chExt cx="5025454" cy="1320543"/>
          </a:xfrm>
        </p:grpSpPr>
        <p:cxnSp>
          <p:nvCxnSpPr>
            <p:cNvPr id="36" name="Straight Connector 35"/>
            <p:cNvCxnSpPr/>
            <p:nvPr>
              <p:custDataLst>
                <p:tags r:id="rId13"/>
              </p:custDataLst>
            </p:nvPr>
          </p:nvCxnSpPr>
          <p:spPr>
            <a:xfrm>
              <a:off x="3823318" y="5118914"/>
              <a:ext cx="5017518" cy="0"/>
            </a:xfrm>
            <a:prstGeom prst="line">
              <a:avLst/>
            </a:prstGeom>
            <a:ln w="6350">
              <a:solidFill>
                <a:schemeClr val="tx2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627" name="Rechteck 48"/>
            <p:cNvSpPr>
              <a:spLocks noChangeArrowheads="1"/>
            </p:cNvSpPr>
            <p:nvPr/>
          </p:nvSpPr>
          <p:spPr bwMode="auto">
            <a:xfrm>
              <a:off x="3825709" y="5188645"/>
              <a:ext cx="1859483" cy="2769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/>
                <a:t>Windows 7 Phone</a:t>
              </a:r>
            </a:p>
          </p:txBody>
        </p:sp>
        <p:sp>
          <p:nvSpPr>
            <p:cNvPr id="23628" name="Rechteck 49"/>
            <p:cNvSpPr>
              <a:spLocks noChangeArrowheads="1"/>
            </p:cNvSpPr>
            <p:nvPr/>
          </p:nvSpPr>
          <p:spPr bwMode="auto">
            <a:xfrm>
              <a:off x="3825709" y="5513250"/>
              <a:ext cx="897682" cy="2769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/>
                <a:t>Symbian</a:t>
              </a:r>
            </a:p>
          </p:txBody>
        </p:sp>
        <p:sp>
          <p:nvSpPr>
            <p:cNvPr id="23629" name="Rechteck 50"/>
            <p:cNvSpPr>
              <a:spLocks noChangeArrowheads="1"/>
            </p:cNvSpPr>
            <p:nvPr/>
          </p:nvSpPr>
          <p:spPr bwMode="auto">
            <a:xfrm>
              <a:off x="3825709" y="5837855"/>
              <a:ext cx="641201" cy="2769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/>
                <a:t>Kindle</a:t>
              </a:r>
            </a:p>
          </p:txBody>
        </p:sp>
        <p:sp>
          <p:nvSpPr>
            <p:cNvPr id="23630" name="Rechteck 51"/>
            <p:cNvSpPr>
              <a:spLocks noChangeArrowheads="1"/>
            </p:cNvSpPr>
            <p:nvPr/>
          </p:nvSpPr>
          <p:spPr bwMode="auto">
            <a:xfrm>
              <a:off x="3815382" y="6162458"/>
              <a:ext cx="756617" cy="2769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/>
                <a:t>MeeGo</a:t>
              </a:r>
            </a:p>
          </p:txBody>
        </p:sp>
        <p:sp>
          <p:nvSpPr>
            <p:cNvPr id="25" name="Rectangle 24"/>
            <p:cNvSpPr/>
            <p:nvPr>
              <p:custDataLst>
                <p:tags r:id="rId14"/>
              </p:custDataLst>
            </p:nvPr>
          </p:nvSpPr>
          <p:spPr bwMode="auto">
            <a:xfrm>
              <a:off x="5969374" y="6191557"/>
              <a:ext cx="288892" cy="217707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  <a:extLst>
              <a:ext uri="{909E8E84-426E-40DD-AFC4-6F175D3DCCD1}"/>
              <a:ext uri="{91240B29-F687-4F45-9708-019B960494DF}"/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fld id="{0A16D6F1-CE90-458F-B931-E84D74DC6B6B}" type="datetime'''''6''''''''''''''''''''''''''''''''%'''''''''''''''''''">
                <a:rPr lang="en-US" sz="1600" kern="0">
                  <a:latin typeface="Arial"/>
                  <a:cs typeface="+mn-cs"/>
                  <a:sym typeface="Arial"/>
                </a:rPr>
                <a:pPr>
                  <a:defRPr/>
                </a:pPr>
                <a:t>6%</a:t>
              </a:fld>
              <a:endParaRPr lang="en-US" sz="1600" kern="0" dirty="0">
                <a:latin typeface="Arial"/>
                <a:cs typeface="+mn-cs"/>
                <a:sym typeface="Arial"/>
              </a:endParaRPr>
            </a:p>
          </p:txBody>
        </p:sp>
        <p:sp>
          <p:nvSpPr>
            <p:cNvPr id="23" name="Rectangle 22"/>
            <p:cNvSpPr/>
            <p:nvPr>
              <p:custDataLst>
                <p:tags r:id="rId15"/>
              </p:custDataLst>
            </p:nvPr>
          </p:nvSpPr>
          <p:spPr bwMode="auto">
            <a:xfrm>
              <a:off x="6036042" y="5867380"/>
              <a:ext cx="287305" cy="217707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  <a:extLst>
              <a:ext uri="{909E8E84-426E-40DD-AFC4-6F175D3DCCD1}"/>
              <a:ext uri="{91240B29-F687-4F45-9708-019B960494DF}"/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fld id="{F52A1485-AB08-490E-BFC4-6E9365476CE5}" type="datetime'''''9''''''''''''''''''''''''%'''''''">
                <a:rPr lang="en-US" sz="1600" kern="0">
                  <a:latin typeface="Arial"/>
                  <a:cs typeface="+mn-cs"/>
                  <a:sym typeface="Arial"/>
                </a:rPr>
                <a:pPr>
                  <a:defRPr/>
                </a:pPr>
                <a:t>9%</a:t>
              </a:fld>
              <a:endParaRPr lang="en-US" sz="1600" kern="0" dirty="0">
                <a:latin typeface="Arial"/>
                <a:cs typeface="+mn-cs"/>
                <a:sym typeface="Arial"/>
              </a:endParaRPr>
            </a:p>
          </p:txBody>
        </p:sp>
        <p:sp>
          <p:nvSpPr>
            <p:cNvPr id="27" name="Rectangle 26"/>
            <p:cNvSpPr/>
            <p:nvPr>
              <p:custDataLst>
                <p:tags r:id="rId16"/>
              </p:custDataLst>
            </p:nvPr>
          </p:nvSpPr>
          <p:spPr bwMode="auto">
            <a:xfrm>
              <a:off x="6094773" y="5543204"/>
              <a:ext cx="380957" cy="217707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  <a:extLst>
              <a:ext uri="{909E8E84-426E-40DD-AFC4-6F175D3DCCD1}"/>
              <a:ext uri="{91240B29-F687-4F45-9708-019B960494DF}"/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fld id="{B4D7D5FC-13C3-432A-8958-28B2880112E5}" type="datetime'''''''''1''''''2''''''''''''''''''%'''''''''''''''''''''''''">
                <a:rPr lang="en-US" sz="1600" kern="0">
                  <a:latin typeface="Arial"/>
                  <a:cs typeface="+mn-cs"/>
                  <a:sym typeface="Arial"/>
                </a:rPr>
                <a:pPr>
                  <a:defRPr/>
                </a:pPr>
                <a:t>12%</a:t>
              </a:fld>
              <a:endParaRPr lang="en-US" sz="1600" kern="0" dirty="0">
                <a:latin typeface="Arial"/>
                <a:cs typeface="+mn-cs"/>
                <a:sym typeface="Arial"/>
              </a:endParaRPr>
            </a:p>
          </p:txBody>
        </p:sp>
        <p:sp>
          <p:nvSpPr>
            <p:cNvPr id="14" name="Rectangle 13"/>
            <p:cNvSpPr/>
            <p:nvPr>
              <p:custDataLst>
                <p:tags r:id="rId17"/>
              </p:custDataLst>
            </p:nvPr>
          </p:nvSpPr>
          <p:spPr bwMode="auto">
            <a:xfrm>
              <a:off x="6116995" y="5219027"/>
              <a:ext cx="380957" cy="216118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  <a:extLst>
              <a:ext uri="{909E8E84-426E-40DD-AFC4-6F175D3DCCD1}"/>
              <a:ext uri="{91240B29-F687-4F45-9708-019B960494DF}"/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fld id="{6CBCA9F5-4240-4BD1-A956-9B2999BE061E}" type="datetime'''''''1''''''''''''''3''''''''''''''''''''''''''''''''''''%'''">
                <a:rPr lang="en-US" sz="1600" kern="0">
                  <a:latin typeface="Arial"/>
                  <a:cs typeface="+mn-cs"/>
                  <a:sym typeface="Arial"/>
                </a:rPr>
                <a:pPr>
                  <a:defRPr/>
                </a:pPr>
                <a:t>13%</a:t>
              </a:fld>
              <a:endParaRPr lang="en-US" sz="1600" kern="0" dirty="0">
                <a:latin typeface="Arial"/>
                <a:cs typeface="+mn-cs"/>
                <a:sym typeface="Arial"/>
              </a:endParaRPr>
            </a:p>
          </p:txBody>
        </p:sp>
        <p:sp>
          <p:nvSpPr>
            <p:cNvPr id="85" name="Rectangle 37"/>
            <p:cNvSpPr>
              <a:spLocks noChangeArrowheads="1"/>
            </p:cNvSpPr>
            <p:nvPr/>
          </p:nvSpPr>
          <p:spPr bwMode="auto">
            <a:xfrm>
              <a:off x="5786833" y="5228562"/>
              <a:ext cx="273019" cy="197049"/>
            </a:xfrm>
            <a:prstGeom prst="rect">
              <a:avLst/>
            </a:prstGeom>
            <a:solidFill>
              <a:srgbClr val="002266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1240B29-F687-4F45-9708-019B960494DF}"/>
            </a:extLst>
          </p:spPr>
          <p:txBody>
            <a:bodyPr lIns="0" tIns="0" rIns="0" bIns="0"/>
            <a:lstStyle/>
            <a:p>
              <a:pPr>
                <a:defRPr/>
              </a:pPr>
              <a:endParaRPr lang="en-US" sz="1600"/>
            </a:p>
          </p:txBody>
        </p:sp>
        <p:sp>
          <p:nvSpPr>
            <p:cNvPr id="86" name="Rectangle 38"/>
            <p:cNvSpPr>
              <a:spLocks noChangeArrowheads="1"/>
            </p:cNvSpPr>
            <p:nvPr/>
          </p:nvSpPr>
          <p:spPr bwMode="auto">
            <a:xfrm>
              <a:off x="5786833" y="5554328"/>
              <a:ext cx="250797" cy="195459"/>
            </a:xfrm>
            <a:prstGeom prst="rect">
              <a:avLst/>
            </a:prstGeom>
            <a:solidFill>
              <a:srgbClr val="002266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1240B29-F687-4F45-9708-019B960494DF}"/>
            </a:extLst>
          </p:spPr>
          <p:txBody>
            <a:bodyPr lIns="0" tIns="0" rIns="0" bIns="0"/>
            <a:lstStyle/>
            <a:p>
              <a:pPr>
                <a:defRPr/>
              </a:pPr>
              <a:endParaRPr lang="en-US" sz="1600"/>
            </a:p>
          </p:txBody>
        </p:sp>
        <p:sp>
          <p:nvSpPr>
            <p:cNvPr id="87" name="Rectangle 39"/>
            <p:cNvSpPr>
              <a:spLocks noChangeArrowheads="1"/>
            </p:cNvSpPr>
            <p:nvPr/>
          </p:nvSpPr>
          <p:spPr bwMode="auto">
            <a:xfrm>
              <a:off x="5786833" y="5878505"/>
              <a:ext cx="188891" cy="195459"/>
            </a:xfrm>
            <a:prstGeom prst="rect">
              <a:avLst/>
            </a:prstGeom>
            <a:solidFill>
              <a:srgbClr val="002266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1240B29-F687-4F45-9708-019B960494DF}"/>
            </a:extLst>
          </p:spPr>
          <p:txBody>
            <a:bodyPr lIns="0" tIns="0" rIns="0" bIns="0"/>
            <a:lstStyle/>
            <a:p>
              <a:pPr>
                <a:defRPr/>
              </a:pPr>
              <a:endParaRPr lang="en-US" sz="1600"/>
            </a:p>
          </p:txBody>
        </p:sp>
        <p:sp>
          <p:nvSpPr>
            <p:cNvPr id="88" name="Rectangle 40"/>
            <p:cNvSpPr>
              <a:spLocks noChangeArrowheads="1"/>
            </p:cNvSpPr>
            <p:nvPr/>
          </p:nvSpPr>
          <p:spPr bwMode="auto">
            <a:xfrm>
              <a:off x="5786833" y="6204270"/>
              <a:ext cx="125398" cy="193870"/>
            </a:xfrm>
            <a:prstGeom prst="rect">
              <a:avLst/>
            </a:prstGeom>
            <a:solidFill>
              <a:srgbClr val="002266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1240B29-F687-4F45-9708-019B960494DF}"/>
            </a:extLst>
          </p:spPr>
          <p:txBody>
            <a:bodyPr lIns="0" tIns="0" rIns="0" bIns="0"/>
            <a:lstStyle/>
            <a:p>
              <a:pPr>
                <a:defRPr/>
              </a:pPr>
              <a:endParaRPr lang="en-US" sz="1600"/>
            </a:p>
          </p:txBody>
        </p:sp>
      </p:grpSp>
      <p:grpSp>
        <p:nvGrpSpPr>
          <p:cNvPr id="15" name="Gruppieren 14"/>
          <p:cNvGrpSpPr>
            <a:grpSpLocks/>
          </p:cNvGrpSpPr>
          <p:nvPr/>
        </p:nvGrpSpPr>
        <p:grpSpPr bwMode="auto">
          <a:xfrm>
            <a:off x="3822700" y="2962275"/>
            <a:ext cx="5018088" cy="671513"/>
            <a:chOff x="3822699" y="2962088"/>
            <a:chExt cx="5018137" cy="671335"/>
          </a:xfrm>
        </p:grpSpPr>
        <p:cxnSp>
          <p:nvCxnSpPr>
            <p:cNvPr id="34" name="Straight Connector 33"/>
            <p:cNvCxnSpPr/>
            <p:nvPr>
              <p:custDataLst>
                <p:tags r:id="rId9"/>
              </p:custDataLst>
            </p:nvPr>
          </p:nvCxnSpPr>
          <p:spPr>
            <a:xfrm>
              <a:off x="3822699" y="2962088"/>
              <a:ext cx="5018137" cy="0"/>
            </a:xfrm>
            <a:prstGeom prst="line">
              <a:avLst/>
            </a:prstGeom>
            <a:ln w="6350">
              <a:solidFill>
                <a:schemeClr val="tx2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3619" name="Picture 4"/>
            <p:cNvPicPr>
              <a:picLocks noChangeAspect="1" noChangeArrowheads="1"/>
            </p:cNvPicPr>
            <p:nvPr>
              <p:custDataLst>
                <p:tags r:id="rId10"/>
              </p:custDataLst>
            </p:nvPr>
          </p:nvPicPr>
          <p:blipFill>
            <a:blip r:embed="rId30"/>
            <a:srcRect/>
            <a:stretch>
              <a:fillRect/>
            </a:stretch>
          </p:blipFill>
          <p:spPr bwMode="auto">
            <a:xfrm>
              <a:off x="8301480" y="3044596"/>
              <a:ext cx="509505" cy="5628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3620" name="Rechteck 55"/>
            <p:cNvSpPr>
              <a:spLocks noChangeArrowheads="1"/>
            </p:cNvSpPr>
            <p:nvPr/>
          </p:nvSpPr>
          <p:spPr bwMode="auto">
            <a:xfrm>
              <a:off x="3822700" y="3031818"/>
              <a:ext cx="730969" cy="2769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/>
                <a:t>Phone </a:t>
              </a:r>
            </a:p>
          </p:txBody>
        </p:sp>
        <p:sp>
          <p:nvSpPr>
            <p:cNvPr id="23621" name="Rechteck 56"/>
            <p:cNvSpPr>
              <a:spLocks noChangeArrowheads="1"/>
            </p:cNvSpPr>
            <p:nvPr/>
          </p:nvSpPr>
          <p:spPr bwMode="auto">
            <a:xfrm>
              <a:off x="3822700" y="3356424"/>
              <a:ext cx="615618" cy="2769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/>
                <a:t>Tablet</a:t>
              </a:r>
            </a:p>
          </p:txBody>
        </p:sp>
        <p:sp>
          <p:nvSpPr>
            <p:cNvPr id="11" name="Rectangle 10"/>
            <p:cNvSpPr/>
            <p:nvPr>
              <p:custDataLst>
                <p:tags r:id="rId11"/>
              </p:custDataLst>
            </p:nvPr>
          </p:nvSpPr>
          <p:spPr bwMode="auto">
            <a:xfrm>
              <a:off x="7350158" y="3385839"/>
              <a:ext cx="379417" cy="217429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  <a:extLst>
              <a:ext uri="{909E8E84-426E-40DD-AFC4-6F175D3DCCD1}"/>
              <a:ext uri="{91240B29-F687-4F45-9708-019B960494DF}"/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fld id="{7BF12922-3707-4EC4-96D8-B145FA99DA05}" type="datetime'''''''''''''7''''''4''''''''''''''''''''''''%'''">
                <a:rPr lang="en-US" sz="1600" kern="0">
                  <a:latin typeface="Arial"/>
                  <a:cs typeface="+mn-cs"/>
                  <a:sym typeface="Arial"/>
                </a:rPr>
                <a:pPr>
                  <a:defRPr/>
                </a:pPr>
                <a:t>74%</a:t>
              </a:fld>
              <a:endParaRPr lang="en-US" sz="1600" kern="0" dirty="0">
                <a:latin typeface="Arial"/>
                <a:cs typeface="+mn-cs"/>
                <a:sym typeface="Arial"/>
              </a:endParaRPr>
            </a:p>
          </p:txBody>
        </p:sp>
        <p:sp>
          <p:nvSpPr>
            <p:cNvPr id="10" name="Rectangle 9"/>
            <p:cNvSpPr/>
            <p:nvPr>
              <p:custDataLst>
                <p:tags r:id="rId12"/>
              </p:custDataLst>
            </p:nvPr>
          </p:nvSpPr>
          <p:spPr bwMode="auto">
            <a:xfrm>
              <a:off x="7670837" y="3062074"/>
              <a:ext cx="379417" cy="217429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  <a:extLst>
              <a:ext uri="{909E8E84-426E-40DD-AFC4-6F175D3DCCD1}"/>
              <a:ext uri="{91240B29-F687-4F45-9708-019B960494DF}"/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fld id="{A7CEBA9D-2C5B-4ACC-9EC4-9DE255F130F9}" type="datetime'8''''''''''''7''''''''''''''''''''%'">
                <a:rPr lang="en-US" sz="1600" kern="0">
                  <a:latin typeface="Arial"/>
                  <a:cs typeface="+mn-cs"/>
                  <a:sym typeface="Arial"/>
                </a:rPr>
                <a:pPr>
                  <a:defRPr/>
                </a:pPr>
                <a:t>87%</a:t>
              </a:fld>
              <a:endParaRPr lang="en-US" sz="1600" kern="0" dirty="0">
                <a:latin typeface="Arial"/>
                <a:cs typeface="+mn-cs"/>
                <a:sym typeface="Arial"/>
              </a:endParaRPr>
            </a:p>
          </p:txBody>
        </p:sp>
        <p:sp>
          <p:nvSpPr>
            <p:cNvPr id="80" name="Rectangle 31"/>
            <p:cNvSpPr>
              <a:spLocks noChangeArrowheads="1"/>
            </p:cNvSpPr>
            <p:nvPr/>
          </p:nvSpPr>
          <p:spPr bwMode="auto">
            <a:xfrm>
              <a:off x="5786456" y="3073184"/>
              <a:ext cx="1827230" cy="195211"/>
            </a:xfrm>
            <a:prstGeom prst="rect">
              <a:avLst/>
            </a:prstGeom>
            <a:solidFill>
              <a:srgbClr val="66CC00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1240B29-F687-4F45-9708-019B960494DF}"/>
            </a:extLst>
          </p:spPr>
          <p:txBody>
            <a:bodyPr lIns="0" tIns="0" rIns="0" bIns="0"/>
            <a:lstStyle/>
            <a:p>
              <a:pPr>
                <a:defRPr/>
              </a:pPr>
              <a:endParaRPr lang="en-US" sz="1600"/>
            </a:p>
          </p:txBody>
        </p:sp>
        <p:sp>
          <p:nvSpPr>
            <p:cNvPr id="89" name="Rectangle 31"/>
            <p:cNvSpPr>
              <a:spLocks noChangeArrowheads="1"/>
            </p:cNvSpPr>
            <p:nvPr/>
          </p:nvSpPr>
          <p:spPr bwMode="auto">
            <a:xfrm>
              <a:off x="5786456" y="3396948"/>
              <a:ext cx="1506552" cy="195211"/>
            </a:xfrm>
            <a:prstGeom prst="rect">
              <a:avLst/>
            </a:prstGeom>
            <a:solidFill>
              <a:srgbClr val="66CC00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1240B29-F687-4F45-9708-019B960494DF}"/>
            </a:extLst>
          </p:spPr>
          <p:txBody>
            <a:bodyPr lIns="0" tIns="0" rIns="0" bIns="0"/>
            <a:lstStyle/>
            <a:p>
              <a:pPr>
                <a:defRPr/>
              </a:pPr>
              <a:endParaRPr lang="en-US" sz="1600"/>
            </a:p>
          </p:txBody>
        </p:sp>
      </p:grpSp>
      <p:grpSp>
        <p:nvGrpSpPr>
          <p:cNvPr id="22" name="Gruppieren 21"/>
          <p:cNvGrpSpPr>
            <a:grpSpLocks/>
          </p:cNvGrpSpPr>
          <p:nvPr/>
        </p:nvGrpSpPr>
        <p:grpSpPr bwMode="auto">
          <a:xfrm>
            <a:off x="3822700" y="4400550"/>
            <a:ext cx="5073650" cy="671513"/>
            <a:chOff x="3822699" y="4399972"/>
            <a:chExt cx="5074243" cy="671335"/>
          </a:xfrm>
        </p:grpSpPr>
        <p:pic>
          <p:nvPicPr>
            <p:cNvPr id="23610" name="Picture 16"/>
            <p:cNvPicPr>
              <a:picLocks noChangeAspect="1" noChangeArrowheads="1"/>
            </p:cNvPicPr>
            <p:nvPr>
              <p:custDataLst>
                <p:tags r:id="rId5"/>
              </p:custDataLst>
            </p:nvPr>
          </p:nvPicPr>
          <p:blipFill>
            <a:blip r:embed="rId31"/>
            <a:srcRect/>
            <a:stretch>
              <a:fillRect/>
            </a:stretch>
          </p:blipFill>
          <p:spPr bwMode="auto">
            <a:xfrm>
              <a:off x="8215522" y="4486830"/>
              <a:ext cx="681420" cy="5110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47" name="Rechteck 46"/>
            <p:cNvSpPr/>
            <p:nvPr/>
          </p:nvSpPr>
          <p:spPr>
            <a:xfrm>
              <a:off x="3825874" y="4472978"/>
              <a:ext cx="4572534" cy="253933"/>
            </a:xfrm>
            <a:prstGeom prst="rect">
              <a:avLst/>
            </a:prstGeom>
          </p:spPr>
          <p:txBody>
            <a:bodyPr lIns="0" tIns="0" rIns="0" bIns="0">
              <a:spAutoFit/>
            </a:bodyPr>
            <a:lstStyle/>
            <a:p>
              <a:pPr>
                <a:defRPr/>
              </a:pPr>
              <a:r>
                <a:rPr lang="en-US" kern="0" dirty="0">
                  <a:latin typeface="Arial"/>
                  <a:sym typeface="Arial"/>
                </a:rPr>
                <a:t>Tablet</a:t>
              </a:r>
              <a:endParaRPr lang="en-US" dirty="0"/>
            </a:p>
          </p:txBody>
        </p:sp>
        <p:sp>
          <p:nvSpPr>
            <p:cNvPr id="12" name="Rectangle 11"/>
            <p:cNvSpPr/>
            <p:nvPr>
              <p:custDataLst>
                <p:tags r:id="rId6"/>
              </p:custDataLst>
            </p:nvPr>
          </p:nvSpPr>
          <p:spPr bwMode="auto">
            <a:xfrm>
              <a:off x="6180413" y="4823723"/>
              <a:ext cx="379456" cy="217429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  <a:extLst>
              <a:ext uri="{909E8E84-426E-40DD-AFC4-6F175D3DCCD1}"/>
              <a:ext uri="{91240B29-F687-4F45-9708-019B960494DF}"/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fld id="{AC874873-72F4-4C62-A8CF-E7A9B9B99930}" type="datetime'''''''''1''''''''''''6''''''''''''''''''''''''%'">
                <a:rPr lang="en-US" sz="1600" kern="0">
                  <a:latin typeface="Arial"/>
                  <a:cs typeface="+mn-cs"/>
                  <a:sym typeface="Arial"/>
                </a:rPr>
                <a:pPr>
                  <a:defRPr/>
                </a:pPr>
                <a:t>16%</a:t>
              </a:fld>
              <a:endParaRPr lang="en-US" sz="1600" kern="0" dirty="0">
                <a:latin typeface="Arial"/>
                <a:cs typeface="+mn-cs"/>
                <a:sym typeface="Arial"/>
              </a:endParaRPr>
            </a:p>
          </p:txBody>
        </p:sp>
        <p:sp>
          <p:nvSpPr>
            <p:cNvPr id="17" name="Rectangle 16"/>
            <p:cNvSpPr/>
            <p:nvPr>
              <p:custDataLst>
                <p:tags r:id="rId7"/>
              </p:custDataLst>
            </p:nvPr>
          </p:nvSpPr>
          <p:spPr bwMode="auto">
            <a:xfrm>
              <a:off x="6431267" y="4490436"/>
              <a:ext cx="381045" cy="217429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  <a:extLst>
              <a:ext uri="{909E8E84-426E-40DD-AFC4-6F175D3DCCD1}"/>
              <a:ext uri="{91240B29-F687-4F45-9708-019B960494DF}"/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fld id="{4DD4E733-59AB-48B5-9E5C-B3DD40475B6D}" type="datetime'''''''''''''''''''''''''''''2''''''''''''''''''''8%'''''''''''">
                <a:rPr lang="en-US" sz="1600" kern="0">
                  <a:latin typeface="Arial"/>
                  <a:cs typeface="+mn-cs"/>
                  <a:sym typeface="Arial"/>
                </a:rPr>
                <a:pPr>
                  <a:defRPr/>
                </a:pPr>
                <a:t>28%</a:t>
              </a:fld>
              <a:endParaRPr lang="en-US" sz="1600" kern="0" dirty="0">
                <a:latin typeface="Arial"/>
                <a:cs typeface="+mn-cs"/>
                <a:sym typeface="Arial"/>
              </a:endParaRPr>
            </a:p>
          </p:txBody>
        </p:sp>
        <p:cxnSp>
          <p:nvCxnSpPr>
            <p:cNvPr id="35" name="Straight Connector 34"/>
            <p:cNvCxnSpPr/>
            <p:nvPr>
              <p:custDataLst>
                <p:tags r:id="rId8"/>
              </p:custDataLst>
            </p:nvPr>
          </p:nvCxnSpPr>
          <p:spPr>
            <a:xfrm>
              <a:off x="3822699" y="4399972"/>
              <a:ext cx="5018675" cy="0"/>
            </a:xfrm>
            <a:prstGeom prst="line">
              <a:avLst/>
            </a:prstGeom>
            <a:ln w="6350">
              <a:solidFill>
                <a:schemeClr val="tx2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3" name="Rectangle 35"/>
            <p:cNvSpPr>
              <a:spLocks noChangeArrowheads="1"/>
            </p:cNvSpPr>
            <p:nvPr/>
          </p:nvSpPr>
          <p:spPr bwMode="auto">
            <a:xfrm>
              <a:off x="5786667" y="4499958"/>
              <a:ext cx="587444" cy="193624"/>
            </a:xfrm>
            <a:prstGeom prst="rect">
              <a:avLst/>
            </a:prstGeom>
            <a:solidFill>
              <a:srgbClr val="00BBEE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 lIns="0" tIns="0" rIns="0" bIns="0"/>
            <a:lstStyle/>
            <a:p>
              <a:pPr>
                <a:defRPr/>
              </a:pPr>
              <a:endParaRPr lang="en-US" sz="1600"/>
            </a:p>
          </p:txBody>
        </p:sp>
        <p:sp>
          <p:nvSpPr>
            <p:cNvPr id="84" name="Rectangle 36"/>
            <p:cNvSpPr>
              <a:spLocks noChangeArrowheads="1"/>
            </p:cNvSpPr>
            <p:nvPr/>
          </p:nvSpPr>
          <p:spPr bwMode="auto">
            <a:xfrm>
              <a:off x="5786667" y="4836419"/>
              <a:ext cx="335001" cy="193624"/>
            </a:xfrm>
            <a:prstGeom prst="rect">
              <a:avLst/>
            </a:prstGeom>
            <a:solidFill>
              <a:srgbClr val="00BBEE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 lIns="0" tIns="0" rIns="0" bIns="0"/>
            <a:lstStyle/>
            <a:p>
              <a:pPr>
                <a:defRPr/>
              </a:pPr>
              <a:endParaRPr lang="en-US" sz="1600"/>
            </a:p>
          </p:txBody>
        </p:sp>
        <p:sp>
          <p:nvSpPr>
            <p:cNvPr id="94" name="Rechteck 93"/>
            <p:cNvSpPr/>
            <p:nvPr/>
          </p:nvSpPr>
          <p:spPr>
            <a:xfrm>
              <a:off x="3825874" y="4793568"/>
              <a:ext cx="1243158" cy="277739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>
                <a:defRPr/>
              </a:pPr>
              <a:fld id="{55757561-9BB0-4FBD-810E-729FD533A2CA}" type="datetime'''''''P''''h''o''''''''''ne ''''(''''P''r''''''e)'''''">
                <a:rPr lang="en-US" kern="0">
                  <a:latin typeface="Arial"/>
                  <a:sym typeface="Arial"/>
                </a:rPr>
                <a:pPr>
                  <a:defRPr/>
                </a:pPr>
                <a:t>Phone (Pre)</a:t>
              </a:fld>
              <a:endParaRPr lang="en-US" dirty="0"/>
            </a:p>
          </p:txBody>
        </p:sp>
      </p:grpSp>
      <p:sp>
        <p:nvSpPr>
          <p:cNvPr id="61" name="Textplatzhalter 13"/>
          <p:cNvSpPr txBox="1">
            <a:spLocks/>
          </p:cNvSpPr>
          <p:nvPr/>
        </p:nvSpPr>
        <p:spPr bwMode="auto">
          <a:xfrm>
            <a:off x="3825875" y="1482725"/>
            <a:ext cx="5126038" cy="738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eaLnBrk="0" hangingPunct="0">
              <a:spcBef>
                <a:spcPts val="300"/>
              </a:spcBef>
              <a:spcAft>
                <a:spcPts val="300"/>
              </a:spcAft>
              <a:buFont typeface="Arial" charset="0"/>
              <a:buNone/>
            </a:pPr>
            <a:r>
              <a:rPr lang="en-US" sz="1600" b="1">
                <a:solidFill>
                  <a:schemeClr val="accent2"/>
                </a:solidFill>
              </a:rPr>
              <a:t>Developer which are “Very Interested” in Developing for Platform, 2011, in %</a:t>
            </a:r>
            <a:br>
              <a:rPr lang="en-US" sz="1600" b="1">
                <a:solidFill>
                  <a:schemeClr val="accent2"/>
                </a:solidFill>
              </a:rPr>
            </a:br>
            <a:endParaRPr lang="de-DE" sz="1600">
              <a:solidFill>
                <a:schemeClr val="accent2"/>
              </a:solidFill>
            </a:endParaRPr>
          </a:p>
        </p:txBody>
      </p:sp>
    </p:spTree>
  </p:cSld>
  <p:clrMapOvr>
    <a:masterClrMapping/>
  </p:clrMapOvr>
  <p:transition spd="slow">
    <p:push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500"/>
                            </p:stCondLst>
                            <p:childTnLst>
                              <p:par>
                                <p:cTn id="13" presetID="22" presetClass="entr" presetSubtype="8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500"/>
                            </p:stCondLst>
                            <p:childTnLst>
                              <p:par>
                                <p:cTn id="17" presetID="22" presetClass="entr" presetSubtype="8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3500"/>
                            </p:stCondLst>
                            <p:childTnLst>
                              <p:par>
                                <p:cTn id="21" presetID="22" presetClass="entr" presetSubtype="8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4500"/>
                            </p:stCondLst>
                            <p:childTnLst>
                              <p:par>
                                <p:cTn id="25" presetID="22" presetClass="entr" presetSubtype="8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5500"/>
                            </p:stCondLst>
                            <p:childTnLst>
                              <p:par>
                                <p:cTn id="29" presetID="22" presetClass="entr" presetSubtype="8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61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03" name="TextBox 75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50825" y="6373813"/>
            <a:ext cx="8642350" cy="153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marL="292100" indent="-292100">
              <a:tabLst>
                <a:tab pos="190500" algn="r"/>
                <a:tab pos="292100" algn="l"/>
              </a:tabLst>
            </a:pPr>
            <a:r>
              <a:rPr lang="en-US" sz="1000"/>
              <a:t>Source: Zokem, Distimo</a:t>
            </a:r>
          </a:p>
        </p:txBody>
      </p:sp>
      <p:sp>
        <p:nvSpPr>
          <p:cNvPr id="97" name="Rectangle 45"/>
          <p:cNvSpPr/>
          <p:nvPr>
            <p:custDataLst>
              <p:tags r:id="rId3"/>
            </p:custDataLst>
          </p:nvPr>
        </p:nvSpPr>
        <p:spPr bwMode="auto">
          <a:xfrm>
            <a:off x="4322763" y="5851525"/>
            <a:ext cx="788987" cy="21272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  <a:extLst>
            <a:ext uri="{909E8E84-426E-40DD-AFC4-6F175D3DCCD1}"/>
            <a:ext uri="{91240B29-F687-4F45-9708-019B960494DF}"/>
          </a:extLst>
        </p:spPr>
        <p:txBody>
          <a:bodyPr wrap="none" lIns="0" tIns="0" rIns="0" bIns="0" anchor="ctr"/>
          <a:lstStyle/>
          <a:p>
            <a:pPr algn="ctr">
              <a:defRPr/>
            </a:pPr>
            <a:endParaRPr lang="en-US" kern="0" dirty="0">
              <a:latin typeface="Arial"/>
              <a:cs typeface="+mn-cs"/>
              <a:sym typeface="Arial"/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4260850" y="5845175"/>
            <a:ext cx="735013" cy="64611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  <a:extLst>
            <a:ext uri="{909E8E84-426E-40DD-AFC4-6F175D3DCCD1}"/>
            <a:ext uri="{91240B29-F687-4F45-9708-019B960494DF}"/>
          </a:extLst>
        </p:spPr>
        <p:txBody>
          <a:bodyPr wrap="none" lIns="0" tIns="0" rIns="0" bIns="0"/>
          <a:lstStyle/>
          <a:p>
            <a:pPr algn="ctr">
              <a:defRPr/>
            </a:pPr>
            <a:r>
              <a:rPr lang="en-US" kern="0" dirty="0" err="1">
                <a:latin typeface="Arial"/>
                <a:cs typeface="+mn-cs"/>
              </a:rPr>
              <a:t>Ovi</a:t>
            </a:r>
            <a:r>
              <a:rPr lang="en-US" kern="0" dirty="0">
                <a:latin typeface="Arial"/>
                <a:cs typeface="+mn-cs"/>
              </a:rPr>
              <a:t> </a:t>
            </a:r>
            <a:br>
              <a:rPr lang="en-US" kern="0" dirty="0">
                <a:latin typeface="Arial"/>
                <a:cs typeface="+mn-cs"/>
              </a:rPr>
            </a:br>
            <a:r>
              <a:rPr lang="en-US" kern="0" dirty="0">
                <a:latin typeface="Arial"/>
                <a:cs typeface="+mn-cs"/>
              </a:rPr>
              <a:t>Store</a:t>
            </a:r>
          </a:p>
        </p:txBody>
      </p:sp>
      <p:sp>
        <p:nvSpPr>
          <p:cNvPr id="94" name="Rechteck 93"/>
          <p:cNvSpPr/>
          <p:nvPr/>
        </p:nvSpPr>
        <p:spPr>
          <a:xfrm>
            <a:off x="3333750" y="5845175"/>
            <a:ext cx="736600" cy="64611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  <a:extLst>
            <a:ext uri="{909E8E84-426E-40DD-AFC4-6F175D3DCCD1}"/>
            <a:ext uri="{91240B29-F687-4F45-9708-019B960494DF}"/>
          </a:extLst>
        </p:spPr>
        <p:txBody>
          <a:bodyPr wrap="none" lIns="0" tIns="0" rIns="0" bIns="0"/>
          <a:lstStyle/>
          <a:p>
            <a:pPr algn="ctr">
              <a:defRPr/>
            </a:pPr>
            <a:r>
              <a:rPr lang="en-US" kern="0" dirty="0">
                <a:latin typeface="Arial"/>
                <a:cs typeface="+mn-cs"/>
              </a:rPr>
              <a:t>Android</a:t>
            </a:r>
          </a:p>
        </p:txBody>
      </p:sp>
      <p:sp>
        <p:nvSpPr>
          <p:cNvPr id="96" name="Rechteck 95"/>
          <p:cNvSpPr/>
          <p:nvPr/>
        </p:nvSpPr>
        <p:spPr>
          <a:xfrm>
            <a:off x="2389188" y="5845175"/>
            <a:ext cx="736600" cy="64611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  <a:extLst>
            <a:ext uri="{909E8E84-426E-40DD-AFC4-6F175D3DCCD1}"/>
            <a:ext uri="{91240B29-F687-4F45-9708-019B960494DF}"/>
          </a:extLst>
        </p:spPr>
        <p:txBody>
          <a:bodyPr wrap="none" lIns="0" tIns="0" rIns="0" bIns="0"/>
          <a:lstStyle/>
          <a:p>
            <a:pPr algn="ctr">
              <a:defRPr/>
            </a:pPr>
            <a:r>
              <a:rPr lang="en-US" kern="0" dirty="0">
                <a:latin typeface="Arial"/>
                <a:cs typeface="+mn-cs"/>
              </a:rPr>
              <a:t>Mac</a:t>
            </a:r>
          </a:p>
        </p:txBody>
      </p:sp>
      <p:sp>
        <p:nvSpPr>
          <p:cNvPr id="98" name="Rechteck 97"/>
          <p:cNvSpPr/>
          <p:nvPr/>
        </p:nvSpPr>
        <p:spPr>
          <a:xfrm>
            <a:off x="1468438" y="5845175"/>
            <a:ext cx="736600" cy="64611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  <a:extLst>
            <a:ext uri="{909E8E84-426E-40DD-AFC4-6F175D3DCCD1}"/>
            <a:ext uri="{91240B29-F687-4F45-9708-019B960494DF}"/>
          </a:extLst>
        </p:spPr>
        <p:txBody>
          <a:bodyPr wrap="none" lIns="0" tIns="0" rIns="0" bIns="0"/>
          <a:lstStyle/>
          <a:p>
            <a:pPr algn="ctr">
              <a:defRPr/>
            </a:pPr>
            <a:r>
              <a:rPr lang="en-US" kern="0" dirty="0" err="1">
                <a:latin typeface="Arial"/>
                <a:cs typeface="+mn-cs"/>
              </a:rPr>
              <a:t>iPad</a:t>
            </a:r>
            <a:endParaRPr lang="en-US" kern="0" dirty="0">
              <a:latin typeface="Arial"/>
              <a:cs typeface="+mn-cs"/>
            </a:endParaRPr>
          </a:p>
        </p:txBody>
      </p:sp>
      <p:sp>
        <p:nvSpPr>
          <p:cNvPr id="100" name="Rechteck 99"/>
          <p:cNvSpPr/>
          <p:nvPr/>
        </p:nvSpPr>
        <p:spPr>
          <a:xfrm>
            <a:off x="547688" y="5845175"/>
            <a:ext cx="735012" cy="64611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  <a:extLst>
            <a:ext uri="{909E8E84-426E-40DD-AFC4-6F175D3DCCD1}"/>
            <a:ext uri="{91240B29-F687-4F45-9708-019B960494DF}"/>
          </a:extLst>
        </p:spPr>
        <p:txBody>
          <a:bodyPr wrap="none" lIns="0" tIns="0" rIns="0" bIns="0"/>
          <a:lstStyle/>
          <a:p>
            <a:pPr algn="ctr">
              <a:defRPr/>
            </a:pPr>
            <a:r>
              <a:rPr lang="en-US" kern="0" dirty="0" err="1">
                <a:latin typeface="Arial"/>
                <a:cs typeface="+mn-cs"/>
              </a:rPr>
              <a:t>iPhone</a:t>
            </a:r>
            <a:endParaRPr lang="en-US" kern="0" dirty="0">
              <a:latin typeface="Arial"/>
              <a:cs typeface="+mn-cs"/>
            </a:endParaRPr>
          </a:p>
        </p:txBody>
      </p:sp>
      <p:sp>
        <p:nvSpPr>
          <p:cNvPr id="102" name="Rechteck 101"/>
          <p:cNvSpPr/>
          <p:nvPr/>
        </p:nvSpPr>
        <p:spPr>
          <a:xfrm>
            <a:off x="8024813" y="5845175"/>
            <a:ext cx="736600" cy="64611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  <a:extLst>
            <a:ext uri="{909E8E84-426E-40DD-AFC4-6F175D3DCCD1}"/>
            <a:ext uri="{91240B29-F687-4F45-9708-019B960494DF}"/>
          </a:extLst>
        </p:spPr>
        <p:txBody>
          <a:bodyPr wrap="none" lIns="0" tIns="0" rIns="0" bIns="0"/>
          <a:lstStyle/>
          <a:p>
            <a:pPr algn="ctr">
              <a:defRPr/>
            </a:pPr>
            <a:r>
              <a:rPr lang="en-US" kern="0" dirty="0">
                <a:latin typeface="Arial"/>
                <a:cs typeface="+mn-cs"/>
              </a:rPr>
              <a:t>App </a:t>
            </a:r>
            <a:br>
              <a:rPr lang="en-US" kern="0" dirty="0">
                <a:latin typeface="Arial"/>
                <a:cs typeface="+mn-cs"/>
              </a:rPr>
            </a:br>
            <a:r>
              <a:rPr lang="en-US" kern="0" dirty="0">
                <a:latin typeface="Arial"/>
                <a:cs typeface="+mn-cs"/>
              </a:rPr>
              <a:t>Catalog</a:t>
            </a:r>
            <a:endParaRPr lang="en-US" kern="0" dirty="0">
              <a:latin typeface="Arial"/>
              <a:cs typeface="+mn-cs"/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7054850" y="5845175"/>
            <a:ext cx="736600" cy="64611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  <a:extLst>
            <a:ext uri="{909E8E84-426E-40DD-AFC4-6F175D3DCCD1}"/>
            <a:ext uri="{91240B29-F687-4F45-9708-019B960494DF}"/>
          </a:extLst>
        </p:spPr>
        <p:txBody>
          <a:bodyPr wrap="none" lIns="0" tIns="0" rIns="0" bIns="0"/>
          <a:lstStyle/>
          <a:p>
            <a:pPr algn="ctr">
              <a:defRPr/>
            </a:pPr>
            <a:r>
              <a:rPr lang="en-US" kern="0" dirty="0">
                <a:latin typeface="Arial"/>
                <a:cs typeface="+mn-cs"/>
              </a:rPr>
              <a:t>WP 7</a:t>
            </a:r>
            <a:endParaRPr lang="en-US" kern="0" dirty="0">
              <a:latin typeface="Arial"/>
              <a:cs typeface="+mn-cs"/>
            </a:endParaRPr>
          </a:p>
        </p:txBody>
      </p:sp>
      <p:sp>
        <p:nvSpPr>
          <p:cNvPr id="106" name="Rechteck 105"/>
          <p:cNvSpPr/>
          <p:nvPr/>
        </p:nvSpPr>
        <p:spPr>
          <a:xfrm>
            <a:off x="6140450" y="5845175"/>
            <a:ext cx="735013" cy="64611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  <a:extLst>
            <a:ext uri="{909E8E84-426E-40DD-AFC4-6F175D3DCCD1}"/>
            <a:ext uri="{91240B29-F687-4F45-9708-019B960494DF}"/>
          </a:extLst>
        </p:spPr>
        <p:txBody>
          <a:bodyPr wrap="none" lIns="0" tIns="0" rIns="0" bIns="0"/>
          <a:lstStyle/>
          <a:p>
            <a:pPr algn="ctr">
              <a:defRPr/>
            </a:pPr>
            <a:r>
              <a:rPr lang="en-US" kern="0" dirty="0">
                <a:latin typeface="Arial"/>
                <a:cs typeface="+mn-cs"/>
              </a:rPr>
              <a:t>GetJar7</a:t>
            </a:r>
            <a:endParaRPr lang="en-US" kern="0" dirty="0">
              <a:latin typeface="Arial"/>
              <a:cs typeface="+mn-cs"/>
            </a:endParaRPr>
          </a:p>
        </p:txBody>
      </p:sp>
      <p:sp>
        <p:nvSpPr>
          <p:cNvPr id="108" name="Rechteck 107"/>
          <p:cNvSpPr/>
          <p:nvPr/>
        </p:nvSpPr>
        <p:spPr>
          <a:xfrm>
            <a:off x="5213350" y="5845175"/>
            <a:ext cx="736600" cy="64611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  <a:extLst>
            <a:ext uri="{909E8E84-426E-40DD-AFC4-6F175D3DCCD1}"/>
            <a:ext uri="{91240B29-F687-4F45-9708-019B960494DF}"/>
          </a:extLst>
        </p:spPr>
        <p:txBody>
          <a:bodyPr wrap="none" lIns="0" tIns="0" rIns="0" bIns="0"/>
          <a:lstStyle/>
          <a:p>
            <a:pPr algn="ctr">
              <a:defRPr/>
            </a:pPr>
            <a:r>
              <a:rPr lang="en-US" kern="0" dirty="0">
                <a:latin typeface="Arial"/>
                <a:cs typeface="+mn-cs"/>
              </a:rPr>
              <a:t>RIM </a:t>
            </a:r>
            <a:br>
              <a:rPr lang="en-US" kern="0" dirty="0">
                <a:latin typeface="Arial"/>
                <a:cs typeface="+mn-cs"/>
              </a:rPr>
            </a:br>
            <a:r>
              <a:rPr lang="en-US" kern="0" dirty="0">
                <a:latin typeface="Arial"/>
                <a:cs typeface="+mn-cs"/>
              </a:rPr>
              <a:t>App World</a:t>
            </a:r>
            <a:endParaRPr lang="en-US" kern="0" dirty="0">
              <a:latin typeface="Arial"/>
              <a:cs typeface="+mn-cs"/>
            </a:endParaRPr>
          </a:p>
        </p:txBody>
      </p:sp>
      <p:graphicFrame>
        <p:nvGraphicFramePr>
          <p:cNvPr id="18602" name="Object 170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8602" name="think-cell Slide" r:id="rId23" imgW="360" imgH="360" progId="">
              <p:embed/>
            </p:oleObj>
          </a:graphicData>
        </a:graphic>
      </p:graphicFrame>
      <p:sp>
        <p:nvSpPr>
          <p:cNvPr id="2" name="Rectangle 1" hidden="1"/>
          <p:cNvSpPr/>
          <p:nvPr>
            <p:custDataLst>
              <p:tags r:id="rId5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>
              <a:defRPr/>
            </a:pPr>
            <a:endParaRPr lang="en-US" sz="1400" b="1" kern="0" dirty="0">
              <a:solidFill>
                <a:sysClr val="windowText" lastClr="000000"/>
              </a:solidFill>
              <a:latin typeface="Arial"/>
              <a:cs typeface="+mn-cs"/>
              <a:sym typeface="Arial"/>
            </a:endParaRPr>
          </a:p>
        </p:txBody>
      </p:sp>
      <p:sp>
        <p:nvSpPr>
          <p:cNvPr id="18615" name="Textplatzhalter 118"/>
          <p:cNvSpPr>
            <a:spLocks noGrp="1"/>
          </p:cNvSpPr>
          <p:nvPr>
            <p:ph type="body" idx="13"/>
          </p:nvPr>
        </p:nvSpPr>
        <p:spPr bwMode="auto">
          <a:xfrm>
            <a:off x="250825" y="1331913"/>
            <a:ext cx="8642350" cy="385762"/>
          </a:xfrm>
          <a:noFill/>
          <a:ln>
            <a:miter lim="800000"/>
            <a:headEnd/>
            <a:tailEnd/>
          </a:ln>
        </p:spPr>
        <p:txBody>
          <a:bodyPr vert="horz" numCol="1" anchor="t" anchorCtr="0" compatLnSpc="1">
            <a:prstTxWarp prst="textNoShape">
              <a:avLst/>
            </a:prstTxWarp>
          </a:bodyPr>
          <a:lstStyle/>
          <a:p>
            <a:r>
              <a:rPr b="0">
                <a:solidFill>
                  <a:srgbClr val="002266"/>
                </a:solidFill>
                <a:cs typeface="Arial" charset="0"/>
              </a:rPr>
              <a:t>Number of Available Apps, US, March 2011, in k</a:t>
            </a:r>
            <a:endParaRPr sz="2000" b="0">
              <a:solidFill>
                <a:schemeClr val="tx1"/>
              </a:solidFill>
              <a:cs typeface="Arial" charset="0"/>
            </a:endParaRPr>
          </a:p>
        </p:txBody>
      </p:sp>
      <p:sp>
        <p:nvSpPr>
          <p:cNvPr id="18616" name="Title 3"/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/>
        <p:txBody>
          <a:bodyPr/>
          <a:lstStyle/>
          <a:p>
            <a:r>
              <a:rPr lang="en-US" smtClean="0">
                <a:latin typeface="Arial" charset="0"/>
              </a:rPr>
              <a:t>Apps have changed usability and user behavior; but the willingness to pay will continue to be limited</a:t>
            </a:r>
          </a:p>
        </p:txBody>
      </p:sp>
      <p:sp>
        <p:nvSpPr>
          <p:cNvPr id="68" name="Rectangle 67"/>
          <p:cNvSpPr/>
          <p:nvPr>
            <p:custDataLst>
              <p:tags r:id="rId7"/>
            </p:custDataLst>
          </p:nvPr>
        </p:nvSpPr>
        <p:spPr bwMode="auto">
          <a:xfrm>
            <a:off x="6919913" y="2328863"/>
            <a:ext cx="214312" cy="160337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72000" tIns="72000" rIns="72000" bIns="72000"/>
          <a:lstStyle/>
          <a:p>
            <a:pPr>
              <a:spcBef>
                <a:spcPts val="0"/>
              </a:spcBef>
              <a:spcAft>
                <a:spcPts val="300"/>
              </a:spcAft>
              <a:defRPr/>
            </a:pPr>
            <a:endParaRPr lang="en-US" kern="0" dirty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9" name="Rectangle 68"/>
          <p:cNvSpPr/>
          <p:nvPr>
            <p:custDataLst>
              <p:tags r:id="rId8"/>
            </p:custDataLst>
          </p:nvPr>
        </p:nvSpPr>
        <p:spPr bwMode="auto">
          <a:xfrm>
            <a:off x="6919913" y="2032000"/>
            <a:ext cx="214312" cy="160338"/>
          </a:xfrm>
          <a:prstGeom prst="rect">
            <a:avLst/>
          </a:prstGeom>
          <a:solidFill>
            <a:schemeClr val="accent3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72000" tIns="72000" rIns="72000" bIns="72000"/>
          <a:lstStyle/>
          <a:p>
            <a:pPr>
              <a:spcBef>
                <a:spcPts val="0"/>
              </a:spcBef>
              <a:spcAft>
                <a:spcPts val="300"/>
              </a:spcAft>
              <a:defRPr/>
            </a:pPr>
            <a:endParaRPr lang="en-US" kern="0" dirty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0" name="Rectangle 69"/>
          <p:cNvSpPr/>
          <p:nvPr>
            <p:custDataLst>
              <p:tags r:id="rId9"/>
            </p:custDataLst>
          </p:nvPr>
        </p:nvSpPr>
        <p:spPr bwMode="auto">
          <a:xfrm>
            <a:off x="7232650" y="2324100"/>
            <a:ext cx="1087438" cy="18256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  <a:extLst>
            <a:ext uri="{909E8E84-426E-40DD-AFC4-6F175D3DCCD1}"/>
            <a:ext uri="{91240B29-F687-4F45-9708-019B960494DF}"/>
          </a:extLst>
        </p:spPr>
        <p:txBody>
          <a:bodyPr wrap="none" lIns="0" tIns="0" rIns="0" bIns="0" anchor="ctr"/>
          <a:lstStyle/>
          <a:p>
            <a:pPr>
              <a:defRPr/>
            </a:pPr>
            <a:fld id="{95E52DF6-23B1-4446-A3CE-182DE8D75EF9}" type="datetime'P''''''a''''''''''id ''Ap''pl''''''''ic''a''''t''''io''''n'">
              <a:rPr lang="en-US" kern="0">
                <a:latin typeface="Arial"/>
                <a:cs typeface="Arial"/>
                <a:sym typeface="Arial"/>
              </a:rPr>
              <a:pPr>
                <a:defRPr/>
              </a:pPr>
              <a:t>Paid Application</a:t>
            </a:fld>
            <a:endParaRPr lang="en-US" kern="0" dirty="0">
              <a:latin typeface="Arial"/>
              <a:cs typeface="Arial"/>
              <a:sym typeface="Arial"/>
            </a:endParaRPr>
          </a:p>
        </p:txBody>
      </p:sp>
      <p:sp>
        <p:nvSpPr>
          <p:cNvPr id="71" name="Rectangle 70"/>
          <p:cNvSpPr/>
          <p:nvPr>
            <p:custDataLst>
              <p:tags r:id="rId10"/>
            </p:custDataLst>
          </p:nvPr>
        </p:nvSpPr>
        <p:spPr bwMode="auto">
          <a:xfrm>
            <a:off x="7232650" y="2027238"/>
            <a:ext cx="1096963" cy="182562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  <a:extLst>
            <a:ext uri="{909E8E84-426E-40DD-AFC4-6F175D3DCCD1}"/>
            <a:ext uri="{91240B29-F687-4F45-9708-019B960494DF}"/>
          </a:extLst>
        </p:spPr>
        <p:txBody>
          <a:bodyPr wrap="none" lIns="0" tIns="0" rIns="0" bIns="0" anchor="ctr"/>
          <a:lstStyle/>
          <a:p>
            <a:pPr>
              <a:defRPr/>
            </a:pPr>
            <a:fld id="{F1BA1E0B-6FC1-45C9-85B3-9910069CF11D}" type="datetime'''F''r''''''''e''''''''''e'' Ap''pl''ica''''''ti''on'''''''">
              <a:rPr lang="en-US" kern="0">
                <a:latin typeface="Arial"/>
                <a:cs typeface="Arial"/>
                <a:sym typeface="Arial"/>
              </a:rPr>
              <a:pPr>
                <a:defRPr/>
              </a:pPr>
              <a:t>Free Application</a:t>
            </a:fld>
            <a:endParaRPr lang="en-US" kern="0" dirty="0">
              <a:latin typeface="Arial"/>
              <a:cs typeface="Arial"/>
              <a:sym typeface="Arial"/>
            </a:endParaRPr>
          </a:p>
        </p:txBody>
      </p:sp>
      <p:graphicFrame>
        <p:nvGraphicFramePr>
          <p:cNvPr id="93" name="Object 40"/>
          <p:cNvGraphicFramePr>
            <a:graphicFrameLocks/>
          </p:cNvGraphicFramePr>
          <p:nvPr>
            <p:custDataLst>
              <p:tags r:id="rId11"/>
            </p:custDataLst>
          </p:nvPr>
        </p:nvGraphicFramePr>
        <p:xfrm>
          <a:off x="250825" y="1585913"/>
          <a:ext cx="8642350" cy="42624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4"/>
          </a:graphicData>
        </a:graphic>
      </p:graphicFrame>
      <p:grpSp>
        <p:nvGrpSpPr>
          <p:cNvPr id="7" name="Gruppieren 6"/>
          <p:cNvGrpSpPr>
            <a:grpSpLocks/>
          </p:cNvGrpSpPr>
          <p:nvPr/>
        </p:nvGrpSpPr>
        <p:grpSpPr bwMode="auto">
          <a:xfrm>
            <a:off x="669925" y="2039938"/>
            <a:ext cx="7723188" cy="3617912"/>
            <a:chOff x="669925" y="2039937"/>
            <a:chExt cx="7723708" cy="3618012"/>
          </a:xfrm>
        </p:grpSpPr>
        <p:sp>
          <p:nvSpPr>
            <p:cNvPr id="133" name="Rectangle 42"/>
            <p:cNvSpPr/>
            <p:nvPr>
              <p:custDataLst>
                <p:tags r:id="rId12"/>
              </p:custDataLst>
            </p:nvPr>
          </p:nvSpPr>
          <p:spPr bwMode="auto">
            <a:xfrm>
              <a:off x="6299579" y="5300752"/>
              <a:ext cx="247667" cy="212731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  <a:extLst>
              <a:ext uri="{909E8E84-426E-40DD-AFC4-6F175D3DCCD1}"/>
              <a:ext uri="{91240B29-F687-4F45-9708-019B960494DF}"/>
            </a:extLst>
          </p:spPr>
          <p:txBody>
            <a:bodyPr wrap="none" lIns="25400" tIns="0" rIns="25400" bIns="0" anchor="ctr"/>
            <a:lstStyle/>
            <a:p>
              <a:pPr>
                <a:defRPr/>
              </a:pPr>
              <a:fld id="{E88793E8-DC85-43A2-8023-C27A72346A14}" type="datetime'''''''''''''2''''0'''''''''''''''''''''">
                <a:rPr lang="en-US" kern="0">
                  <a:latin typeface="Arial"/>
                  <a:cs typeface="+mn-cs"/>
                  <a:sym typeface="Arial"/>
                </a:rPr>
                <a:pPr>
                  <a:defRPr/>
                </a:pPr>
                <a:t>20</a:t>
              </a:fld>
              <a:endParaRPr lang="en-US" kern="0" dirty="0">
                <a:latin typeface="Arial"/>
                <a:cs typeface="+mn-cs"/>
                <a:sym typeface="Arial"/>
              </a:endParaRPr>
            </a:p>
          </p:txBody>
        </p:sp>
        <p:sp>
          <p:nvSpPr>
            <p:cNvPr id="134" name="Rectangle 44"/>
            <p:cNvSpPr/>
            <p:nvPr>
              <p:custDataLst>
                <p:tags r:id="rId13"/>
              </p:custDataLst>
            </p:nvPr>
          </p:nvSpPr>
          <p:spPr bwMode="auto">
            <a:xfrm>
              <a:off x="5364479" y="5265826"/>
              <a:ext cx="247667" cy="212731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  <a:extLst>
              <a:ext uri="{909E8E84-426E-40DD-AFC4-6F175D3DCCD1}"/>
              <a:ext uri="{91240B29-F687-4F45-9708-019B960494DF}"/>
            </a:extLst>
          </p:spPr>
          <p:txBody>
            <a:bodyPr wrap="none" lIns="25400" tIns="0" rIns="25400" bIns="0" anchor="ctr"/>
            <a:lstStyle/>
            <a:p>
              <a:pPr>
                <a:defRPr/>
              </a:pPr>
              <a:fld id="{64D2D664-FA3C-41E6-BF2D-CD4A5597CFCE}" type="datetime'''''''''''''''''''''''''2''''''''7'">
                <a:rPr lang="en-US" kern="0">
                  <a:latin typeface="Arial"/>
                  <a:cs typeface="+mn-cs"/>
                  <a:sym typeface="Arial"/>
                </a:rPr>
                <a:pPr>
                  <a:defRPr/>
                </a:pPr>
                <a:t>27</a:t>
              </a:fld>
              <a:endParaRPr lang="en-US" kern="0" dirty="0">
                <a:latin typeface="Arial"/>
                <a:cs typeface="+mn-cs"/>
                <a:sym typeface="Arial"/>
              </a:endParaRPr>
            </a:p>
          </p:txBody>
        </p:sp>
        <p:sp>
          <p:nvSpPr>
            <p:cNvPr id="135" name="Rectangle 46"/>
            <p:cNvSpPr/>
            <p:nvPr>
              <p:custDataLst>
                <p:tags r:id="rId14"/>
              </p:custDataLst>
            </p:nvPr>
          </p:nvSpPr>
          <p:spPr bwMode="auto">
            <a:xfrm>
              <a:off x="4464305" y="5192799"/>
              <a:ext cx="247667" cy="212731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  <a:extLst>
              <a:ext uri="{909E8E84-426E-40DD-AFC4-6F175D3DCCD1}"/>
              <a:ext uri="{91240B29-F687-4F45-9708-019B960494DF}"/>
            </a:extLst>
          </p:spPr>
          <p:txBody>
            <a:bodyPr wrap="none" lIns="25400" tIns="0" rIns="25400" bIns="0" anchor="ctr"/>
            <a:lstStyle/>
            <a:p>
              <a:pPr>
                <a:defRPr/>
              </a:pPr>
              <a:fld id="{F6156550-B0DC-4154-A34B-2313DE1F9A9D}" type="datetime'''''''''''''''''''''''''''''''''''''''''''''3''0'''''">
                <a:rPr lang="en-US" kern="0">
                  <a:latin typeface="Arial"/>
                  <a:cs typeface="+mn-cs"/>
                  <a:sym typeface="Arial"/>
                </a:rPr>
                <a:pPr>
                  <a:defRPr/>
                </a:pPr>
                <a:t>30</a:t>
              </a:fld>
              <a:endParaRPr lang="en-US" kern="0" dirty="0">
                <a:latin typeface="Arial"/>
                <a:cs typeface="+mn-cs"/>
                <a:sym typeface="Arial"/>
              </a:endParaRPr>
            </a:p>
          </p:txBody>
        </p:sp>
        <p:sp>
          <p:nvSpPr>
            <p:cNvPr id="136" name="Rectangle 48"/>
            <p:cNvSpPr/>
            <p:nvPr>
              <p:custDataLst>
                <p:tags r:id="rId15"/>
              </p:custDataLst>
            </p:nvPr>
          </p:nvSpPr>
          <p:spPr bwMode="auto">
            <a:xfrm>
              <a:off x="3453000" y="3367124"/>
              <a:ext cx="346098" cy="212731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  <a:extLst>
              <a:ext uri="{909E8E84-426E-40DD-AFC4-6F175D3DCCD1}"/>
              <a:ext uri="{91240B29-F687-4F45-9708-019B960494DF}"/>
            </a:extLst>
          </p:spPr>
          <p:txBody>
            <a:bodyPr wrap="none" lIns="25400" tIns="0" rIns="25400" bIns="0" anchor="ctr"/>
            <a:lstStyle/>
            <a:p>
              <a:pPr>
                <a:defRPr/>
              </a:pPr>
              <a:fld id="{1D5D116D-819E-479E-AA80-EA16C6B0BA13}" type="datetime'2''0''6'''''''''''''''''''''''''''''''''''''''''''''''''''''''">
                <a:rPr lang="en-US" kern="0">
                  <a:latin typeface="Arial"/>
                  <a:cs typeface="+mn-cs"/>
                  <a:sym typeface="Arial"/>
                </a:rPr>
                <a:pPr>
                  <a:defRPr/>
                </a:pPr>
                <a:t>206</a:t>
              </a:fld>
              <a:endParaRPr lang="en-US" kern="0" dirty="0">
                <a:latin typeface="Arial"/>
                <a:cs typeface="+mn-cs"/>
                <a:sym typeface="Arial"/>
              </a:endParaRPr>
            </a:p>
          </p:txBody>
        </p:sp>
        <p:sp>
          <p:nvSpPr>
            <p:cNvPr id="137" name="Rectangle 50"/>
            <p:cNvSpPr/>
            <p:nvPr>
              <p:custDataLst>
                <p:tags r:id="rId16"/>
              </p:custDataLst>
            </p:nvPr>
          </p:nvSpPr>
          <p:spPr bwMode="auto">
            <a:xfrm>
              <a:off x="2663959" y="5445218"/>
              <a:ext cx="149235" cy="212731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  <a:extLst>
              <a:ext uri="{909E8E84-426E-40DD-AFC4-6F175D3DCCD1}"/>
              <a:ext uri="{91240B29-F687-4F45-9708-019B960494DF}"/>
            </a:extLst>
          </p:spPr>
          <p:txBody>
            <a:bodyPr wrap="none" lIns="25400" tIns="0" rIns="25400" bIns="0" anchor="ctr"/>
            <a:lstStyle/>
            <a:p>
              <a:pPr>
                <a:defRPr/>
              </a:pPr>
              <a:fld id="{79A0F943-2530-40AE-8A7E-F07C221ED838}" type="datetime'''''''''''''''''''''3'''''''''''''''''''''">
                <a:rPr lang="en-US" kern="0">
                  <a:latin typeface="Arial"/>
                  <a:cs typeface="+mn-cs"/>
                  <a:sym typeface="Arial"/>
                </a:rPr>
                <a:pPr>
                  <a:defRPr/>
                </a:pPr>
                <a:t>3</a:t>
              </a:fld>
              <a:endParaRPr lang="en-US" kern="0" dirty="0">
                <a:latin typeface="Arial"/>
                <a:cs typeface="+mn-cs"/>
                <a:sym typeface="Arial"/>
              </a:endParaRPr>
            </a:p>
          </p:txBody>
        </p:sp>
        <p:sp>
          <p:nvSpPr>
            <p:cNvPr id="138" name="Rectangle 52"/>
            <p:cNvSpPr/>
            <p:nvPr>
              <p:custDataLst>
                <p:tags r:id="rId17"/>
              </p:custDataLst>
            </p:nvPr>
          </p:nvSpPr>
          <p:spPr bwMode="auto">
            <a:xfrm>
              <a:off x="1655829" y="4724473"/>
              <a:ext cx="247667" cy="212731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  <a:extLst>
              <a:ext uri="{909E8E84-426E-40DD-AFC4-6F175D3DCCD1}"/>
              <a:ext uri="{91240B29-F687-4F45-9708-019B960494DF}"/>
            </a:extLst>
          </p:spPr>
          <p:txBody>
            <a:bodyPr wrap="none" lIns="25400" tIns="0" rIns="25400" bIns="0" anchor="ctr"/>
            <a:lstStyle/>
            <a:p>
              <a:pPr>
                <a:defRPr/>
              </a:pPr>
              <a:fld id="{274CE835-DB4F-4D6A-ACBD-45AEB7B3075B}" type="datetime'''''''''''''''7''''''''6'''''''''''''''''''''">
                <a:rPr lang="en-US" kern="0">
                  <a:latin typeface="Arial"/>
                  <a:cs typeface="+mn-cs"/>
                  <a:sym typeface="Arial"/>
                </a:rPr>
                <a:pPr>
                  <a:defRPr/>
                </a:pPr>
                <a:t>76</a:t>
              </a:fld>
              <a:endParaRPr lang="en-US" kern="0" dirty="0">
                <a:latin typeface="Arial"/>
                <a:cs typeface="+mn-cs"/>
                <a:sym typeface="Arial"/>
              </a:endParaRPr>
            </a:p>
          </p:txBody>
        </p:sp>
        <p:sp>
          <p:nvSpPr>
            <p:cNvPr id="139" name="Rectangle 54"/>
            <p:cNvSpPr/>
            <p:nvPr>
              <p:custDataLst>
                <p:tags r:id="rId18"/>
              </p:custDataLst>
            </p:nvPr>
          </p:nvSpPr>
          <p:spPr bwMode="auto">
            <a:xfrm>
              <a:off x="669925" y="2039937"/>
              <a:ext cx="346098" cy="212731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  <a:extLst>
              <a:ext uri="{909E8E84-426E-40DD-AFC4-6F175D3DCCD1}"/>
              <a:ext uri="{91240B29-F687-4F45-9708-019B960494DF}"/>
            </a:extLst>
          </p:spPr>
          <p:txBody>
            <a:bodyPr wrap="none" lIns="25400" tIns="0" rIns="25400" bIns="0" anchor="ctr"/>
            <a:lstStyle/>
            <a:p>
              <a:pPr>
                <a:defRPr/>
              </a:pPr>
              <a:fld id="{39A70F87-7C6C-456C-9D46-2BDBECCF412B}" type="datetime'''''''3''3''''''''''''''''''''''''''''''''''3'''''''''">
                <a:rPr lang="en-US" kern="0">
                  <a:latin typeface="Arial"/>
                  <a:cs typeface="+mn-cs"/>
                  <a:sym typeface="Arial"/>
                </a:rPr>
                <a:pPr>
                  <a:defRPr/>
                </a:pPr>
                <a:t>333</a:t>
              </a:fld>
              <a:endParaRPr lang="en-US" kern="0" dirty="0">
                <a:latin typeface="Arial"/>
                <a:cs typeface="+mn-cs"/>
                <a:sym typeface="Arial"/>
              </a:endParaRPr>
            </a:p>
          </p:txBody>
        </p:sp>
        <p:sp>
          <p:nvSpPr>
            <p:cNvPr id="140" name="Rectangle 63"/>
            <p:cNvSpPr/>
            <p:nvPr>
              <p:custDataLst>
                <p:tags r:id="rId19"/>
              </p:custDataLst>
            </p:nvPr>
          </p:nvSpPr>
          <p:spPr bwMode="auto">
            <a:xfrm>
              <a:off x="8244398" y="5445218"/>
              <a:ext cx="149235" cy="212731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  <a:extLst>
              <a:ext uri="{909E8E84-426E-40DD-AFC4-6F175D3DCCD1}"/>
              <a:ext uri="{91240B29-F687-4F45-9708-019B960494DF}"/>
            </a:extLst>
          </p:spPr>
          <p:txBody>
            <a:bodyPr wrap="none" lIns="25400" tIns="0" rIns="25400" bIns="0" anchor="ctr"/>
            <a:lstStyle/>
            <a:p>
              <a:pPr>
                <a:defRPr/>
              </a:pPr>
              <a:fld id="{76A3F742-35C3-4622-B31D-5BB7CDD00763}" type="datetime'''''6'''''''''''''''">
                <a:rPr lang="en-US" kern="0">
                  <a:latin typeface="Arial"/>
                  <a:cs typeface="+mn-cs"/>
                  <a:sym typeface="Arial"/>
                </a:rPr>
                <a:pPr>
                  <a:defRPr/>
                </a:pPr>
                <a:t>6</a:t>
              </a:fld>
              <a:endParaRPr lang="en-US" kern="0" dirty="0">
                <a:latin typeface="Arial"/>
                <a:cs typeface="+mn-cs"/>
                <a:sym typeface="Arial"/>
              </a:endParaRPr>
            </a:p>
          </p:txBody>
        </p:sp>
        <p:sp>
          <p:nvSpPr>
            <p:cNvPr id="141" name="Rectangle 65"/>
            <p:cNvSpPr/>
            <p:nvPr>
              <p:custDataLst>
                <p:tags r:id="rId20"/>
              </p:custDataLst>
            </p:nvPr>
          </p:nvSpPr>
          <p:spPr bwMode="auto">
            <a:xfrm>
              <a:off x="7236267" y="5373779"/>
              <a:ext cx="247667" cy="212731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  <a:extLst>
              <a:ext uri="{909E8E84-426E-40DD-AFC4-6F175D3DCCD1}"/>
              <a:ext uri="{91240B29-F687-4F45-9708-019B960494DF}"/>
            </a:extLst>
          </p:spPr>
          <p:txBody>
            <a:bodyPr wrap="none" lIns="25400" tIns="0" rIns="25400" bIns="0" anchor="ctr"/>
            <a:lstStyle/>
            <a:p>
              <a:pPr>
                <a:defRPr/>
              </a:pPr>
              <a:fld id="{153EE941-975A-4D09-9BDF-475E92E5D3D7}" type="datetime'''1''''''''2'''''''''''''''''''''''''''">
                <a:rPr lang="en-US" kern="0">
                  <a:latin typeface="Arial"/>
                  <a:cs typeface="+mn-cs"/>
                  <a:sym typeface="Arial"/>
                </a:rPr>
                <a:pPr>
                  <a:defRPr/>
                </a:pPr>
                <a:t>12</a:t>
              </a:fld>
              <a:endParaRPr lang="en-US" kern="0" dirty="0">
                <a:latin typeface="Arial"/>
                <a:cs typeface="+mn-cs"/>
                <a:sym typeface="Arial"/>
              </a:endParaRPr>
            </a:p>
          </p:txBody>
        </p:sp>
      </p:grpSp>
      <p:sp>
        <p:nvSpPr>
          <p:cNvPr id="142" name="Rechteck 141"/>
          <p:cNvSpPr/>
          <p:nvPr/>
        </p:nvSpPr>
        <p:spPr bwMode="gray">
          <a:xfrm>
            <a:off x="0" y="1338263"/>
            <a:ext cx="9144000" cy="5519737"/>
          </a:xfrm>
          <a:prstGeom prst="rect">
            <a:avLst/>
          </a:prstGeom>
          <a:solidFill>
            <a:schemeClr val="bg1">
              <a:alpha val="85000"/>
            </a:schemeClr>
          </a:solidFill>
          <a:ln w="6350">
            <a:noFill/>
            <a:miter lim="800000"/>
            <a:headEnd/>
            <a:tailEnd/>
          </a:ln>
          <a:effectLst/>
        </p:spPr>
        <p:txBody>
          <a:bodyPr lIns="72000" tIns="72000" rIns="72000" bIns="72000"/>
          <a:lstStyle/>
          <a:p>
            <a:pPr>
              <a:spcBef>
                <a:spcPts val="0"/>
              </a:spcBef>
              <a:spcAft>
                <a:spcPts val="300"/>
              </a:spcAft>
              <a:defRPr/>
            </a:pPr>
            <a:endParaRPr lang="en-US" sz="1600" kern="0" dirty="0" err="1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3" name="Rechteck 142"/>
          <p:cNvSpPr>
            <a:spLocks noChangeArrowheads="1"/>
          </p:cNvSpPr>
          <p:nvPr/>
        </p:nvSpPr>
        <p:spPr bwMode="auto">
          <a:xfrm>
            <a:off x="250825" y="2759075"/>
            <a:ext cx="8648700" cy="267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285750" indent="-285750">
              <a:spcBef>
                <a:spcPts val="1800"/>
              </a:spcBef>
              <a:buFont typeface="Arial" charset="0"/>
              <a:buChar char="•"/>
            </a:pPr>
            <a:r>
              <a:rPr lang="en-US" sz="2400" b="1">
                <a:solidFill>
                  <a:schemeClr val="accent2"/>
                </a:solidFill>
              </a:rPr>
              <a:t>Apps are 6 times more popular than websites on smartphones</a:t>
            </a:r>
          </a:p>
          <a:p>
            <a:pPr marL="285750" indent="-285750">
              <a:spcBef>
                <a:spcPts val="1800"/>
              </a:spcBef>
              <a:buFont typeface="Arial" charset="0"/>
              <a:buChar char="•"/>
            </a:pPr>
            <a:r>
              <a:rPr lang="en-US" sz="2400" b="1">
                <a:solidFill>
                  <a:schemeClr val="accent2"/>
                </a:solidFill>
              </a:rPr>
              <a:t>Tablet user generally access more books, movies and magazines than smartphone users</a:t>
            </a:r>
          </a:p>
          <a:p>
            <a:pPr marL="285750" indent="-285750">
              <a:spcBef>
                <a:spcPts val="1800"/>
              </a:spcBef>
              <a:buFont typeface="Arial" charset="0"/>
              <a:buChar char="•"/>
            </a:pPr>
            <a:r>
              <a:rPr lang="en-US" sz="2400" b="1">
                <a:solidFill>
                  <a:schemeClr val="accent2"/>
                </a:solidFill>
              </a:rPr>
              <a:t>Approximately 85% of downloads are free applications and willingness to pay is limited</a:t>
            </a:r>
          </a:p>
        </p:txBody>
      </p:sp>
    </p:spTree>
  </p:cSld>
  <p:clrMapOvr>
    <a:masterClrMapping/>
  </p:clrMapOvr>
  <p:transition spd="slow">
    <p:push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500"/>
                            </p:stCondLst>
                            <p:childTnLst>
                              <p:par>
                                <p:cTn id="1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1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93" grpId="0">
        <p:bldAsOne/>
      </p:bldGraphic>
      <p:bldP spid="142" grpId="0" animBg="1"/>
      <p:bldP spid="143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auto">
          <a:xfrm>
            <a:off x="250825" y="1500188"/>
            <a:ext cx="3168650" cy="4881562"/>
          </a:xfrm>
          <a:noFill/>
        </p:spPr>
        <p:txBody>
          <a:bodyPr tIns="0"/>
          <a:lstStyle/>
          <a:p>
            <a:pPr marL="179388">
              <a:buFont typeface="Arial" charset="0"/>
              <a:buChar char="•"/>
            </a:pPr>
            <a:r>
              <a:rPr lang="en-US"/>
              <a:t>App stores and apps will become an integral part of multimedia devices</a:t>
            </a:r>
          </a:p>
          <a:p>
            <a:pPr marL="179388">
              <a:buFont typeface="Arial" charset="0"/>
              <a:buChar char="•"/>
            </a:pPr>
            <a:r>
              <a:rPr lang="en-US"/>
              <a:t>There is a need to synchronize apps throughout devices (and platforms) </a:t>
            </a:r>
          </a:p>
          <a:p>
            <a:pPr marL="179388">
              <a:buFont typeface="Arial" charset="0"/>
              <a:buChar char="•"/>
            </a:pPr>
            <a:r>
              <a:rPr lang="en-US"/>
              <a:t>There is a desire to personalize devices via apps</a:t>
            </a:r>
          </a:p>
          <a:p>
            <a:pPr marL="179388">
              <a:buFont typeface="Arial" charset="0"/>
              <a:buChar char="•"/>
            </a:pPr>
            <a:r>
              <a:rPr lang="en-US"/>
              <a:t>Multimedia devices are likely to become a pure output channel	</a:t>
            </a:r>
          </a:p>
          <a:p>
            <a:pPr marL="179388">
              <a:buFont typeface="Arial" charset="0"/>
              <a:buChar char="•"/>
            </a:pPr>
            <a:endParaRPr/>
          </a:p>
        </p:txBody>
      </p:sp>
      <p:sp>
        <p:nvSpPr>
          <p:cNvPr id="35842" name="Ti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>
                <a:latin typeface="Arial" charset="0"/>
              </a:rPr>
              <a:t>Consumer electronic devices are likely to become pure output channels and the App Economy will dominate</a:t>
            </a:r>
          </a:p>
        </p:txBody>
      </p:sp>
      <p:pic>
        <p:nvPicPr>
          <p:cNvPr id="5" name="Picture 2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5" cstate="print">
            <a:extLst>
              <a:ext uri="{28A0092B-C50C-407E-A947-70E740481C1C}"/>
            </a:extLst>
          </a:blip>
          <a:srcRect/>
          <a:stretch>
            <a:fillRect/>
          </a:stretch>
        </p:blipFill>
        <p:spPr bwMode="auto">
          <a:xfrm>
            <a:off x="4832350" y="1449388"/>
            <a:ext cx="3151982" cy="2080308"/>
          </a:xfrm>
          <a:prstGeom prst="rect">
            <a:avLst/>
          </a:prstGeom>
          <a:noFill/>
          <a:ln>
            <a:noFill/>
          </a:ln>
          <a:effectLst>
            <a:reflection blurRad="6350" stA="52000" endA="300" endPos="35000" dir="5400000" sy="-100000" algn="bl" rotWithShape="0"/>
          </a:effectLst>
          <a:extLst>
            <a:ext uri="{909E8E84-426E-40DD-AFC4-6F175D3DCCD1}"/>
            <a:ext uri="{91240B29-F687-4F45-9708-019B960494DF}"/>
          </a:extLst>
        </p:spPr>
      </p:pic>
      <p:pic>
        <p:nvPicPr>
          <p:cNvPr id="6" name="Picture 4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/>
            </a:extLst>
          </a:blip>
          <a:srcRect/>
          <a:stretch>
            <a:fillRect/>
          </a:stretch>
        </p:blipFill>
        <p:spPr bwMode="auto">
          <a:xfrm>
            <a:off x="6591299" y="3950247"/>
            <a:ext cx="2308225" cy="2244612"/>
          </a:xfrm>
          <a:prstGeom prst="rect">
            <a:avLst/>
          </a:prstGeom>
          <a:noFill/>
          <a:ln>
            <a:noFill/>
          </a:ln>
          <a:effectLst>
            <a:reflection blurRad="6350" stA="52000" endA="300" endPos="35000" dir="5400000" sy="-100000" algn="bl" rotWithShape="0"/>
          </a:effectLst>
          <a:extLst>
            <a:ext uri="{909E8E84-426E-40DD-AFC4-6F175D3DCCD1}"/>
            <a:ext uri="{91240B29-F687-4F45-9708-019B960494DF}"/>
          </a:extLst>
        </p:spPr>
      </p:pic>
      <p:pic>
        <p:nvPicPr>
          <p:cNvPr id="7" name="Picture 4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7"/>
          <a:srcRect l="25026" t="23730" r="23174" b="10094"/>
          <a:stretch>
            <a:fillRect/>
          </a:stretch>
        </p:blipFill>
        <p:spPr bwMode="auto">
          <a:xfrm>
            <a:off x="3822700" y="4278313"/>
            <a:ext cx="2019300" cy="2579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5846" name="TextBox 5"/>
          <p:cNvSpPr txBox="1">
            <a:spLocks noChangeArrowheads="1"/>
          </p:cNvSpPr>
          <p:nvPr/>
        </p:nvSpPr>
        <p:spPr bwMode="auto">
          <a:xfrm>
            <a:off x="250825" y="6373813"/>
            <a:ext cx="8642350" cy="153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marL="292100" indent="-292100">
              <a:tabLst>
                <a:tab pos="190500" algn="r"/>
                <a:tab pos="292100" algn="l"/>
              </a:tabLst>
            </a:pPr>
            <a:r>
              <a:rPr lang="en-US" sz="1000"/>
              <a:t>Source: Accenture, Company Websites (Samsung, Nokia. Apple)</a:t>
            </a:r>
          </a:p>
        </p:txBody>
      </p:sp>
    </p:spTree>
  </p:cSld>
  <p:clrMapOvr>
    <a:masterClrMapping/>
  </p:clrMapOvr>
  <p:transition spd="slow">
    <p:push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5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5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Rectangle 81"/>
          <p:cNvSpPr/>
          <p:nvPr>
            <p:custDataLst>
              <p:tags r:id="rId2"/>
            </p:custDataLst>
          </p:nvPr>
        </p:nvSpPr>
        <p:spPr>
          <a:xfrm>
            <a:off x="5400675" y="5399088"/>
            <a:ext cx="3167063" cy="722312"/>
          </a:xfrm>
          <a:prstGeom prst="rect">
            <a:avLst/>
          </a:prstGeom>
        </p:spPr>
        <p:txBody>
          <a:bodyPr/>
          <a:lstStyle/>
          <a:p>
            <a:pPr algn="ctr">
              <a:defRPr/>
            </a:pPr>
            <a:r>
              <a:rPr lang="en-US" kern="0" dirty="0">
                <a:latin typeface="Arial"/>
                <a:sym typeface="Arial"/>
              </a:rPr>
              <a:t>I am using only apps </a:t>
            </a:r>
            <a:r>
              <a:rPr lang="en-US" kern="0" dirty="0">
                <a:latin typeface="Arial"/>
                <a:sym typeface="Arial"/>
              </a:rPr>
              <a:t/>
            </a:r>
            <a:br>
              <a:rPr lang="en-US" kern="0" dirty="0">
                <a:latin typeface="Arial"/>
                <a:sym typeface="Arial"/>
              </a:rPr>
            </a:br>
            <a:r>
              <a:rPr lang="en-US" kern="0" dirty="0">
                <a:latin typeface="Arial"/>
                <a:sym typeface="Arial"/>
              </a:rPr>
              <a:t>which </a:t>
            </a:r>
            <a:r>
              <a:rPr lang="en-US" kern="0" dirty="0">
                <a:latin typeface="Arial"/>
                <a:sym typeface="Arial"/>
              </a:rPr>
              <a:t>are pre installed</a:t>
            </a:r>
          </a:p>
        </p:txBody>
      </p:sp>
      <p:graphicFrame>
        <p:nvGraphicFramePr>
          <p:cNvPr id="13445" name="Object 133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445" name="think-cell Slide" r:id="rId19" imgW="360" imgH="360" progId="">
              <p:embed/>
            </p:oleObj>
          </a:graphicData>
        </a:graphic>
      </p:graphicFrame>
      <p:sp>
        <p:nvSpPr>
          <p:cNvPr id="2" name="Rectangle 1" hidden="1"/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>
              <a:defRPr/>
            </a:pPr>
            <a:endParaRPr lang="en-US" sz="1400" b="1" kern="0" dirty="0">
              <a:solidFill>
                <a:sysClr val="windowText" lastClr="000000"/>
              </a:solidFill>
              <a:latin typeface="Arial"/>
              <a:cs typeface="+mn-cs"/>
              <a:sym typeface="Arial"/>
            </a:endParaRPr>
          </a:p>
        </p:txBody>
      </p:sp>
      <p:sp>
        <p:nvSpPr>
          <p:cNvPr id="13448" name="Textplatzhalter 10"/>
          <p:cNvSpPr>
            <a:spLocks noGrp="1"/>
          </p:cNvSpPr>
          <p:nvPr>
            <p:ph type="body" idx="13"/>
          </p:nvPr>
        </p:nvSpPr>
        <p:spPr bwMode="auto">
          <a:xfrm>
            <a:off x="250825" y="1331913"/>
            <a:ext cx="8642350" cy="385762"/>
          </a:xfrm>
          <a:noFill/>
          <a:ln>
            <a:miter lim="800000"/>
            <a:headEnd/>
            <a:tailEnd/>
          </a:ln>
        </p:spPr>
        <p:txBody>
          <a:bodyPr vert="horz" numCol="1" anchor="t" anchorCtr="0" compatLnSpc="1">
            <a:prstTxWarp prst="textNoShape">
              <a:avLst/>
            </a:prstTxWarp>
          </a:bodyPr>
          <a:lstStyle/>
          <a:p>
            <a:r>
              <a:rPr lang="en-US"/>
              <a:t>Usage of Applications in Austria, Germany and Switzerland, 2011, in %</a:t>
            </a:r>
          </a:p>
        </p:txBody>
      </p:sp>
      <p:sp>
        <p:nvSpPr>
          <p:cNvPr id="13449" name="Title 3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US" smtClean="0">
                <a:latin typeface="Arial" charset="0"/>
              </a:rPr>
              <a:t>Business apps will gain momentum when data transmission is secure and cloud services are established</a:t>
            </a:r>
          </a:p>
        </p:txBody>
      </p:sp>
      <p:sp>
        <p:nvSpPr>
          <p:cNvPr id="13450" name="TextBox 5"/>
          <p:cNvSpPr txBox="1">
            <a:spLocks noChangeArrowheads="1"/>
          </p:cNvSpPr>
          <p:nvPr/>
        </p:nvSpPr>
        <p:spPr bwMode="auto">
          <a:xfrm>
            <a:off x="250825" y="6373813"/>
            <a:ext cx="8642350" cy="153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marL="292100" indent="-292100">
              <a:tabLst>
                <a:tab pos="190500" algn="r"/>
                <a:tab pos="292100" algn="l"/>
              </a:tabLst>
            </a:pPr>
            <a:r>
              <a:rPr lang="en-US" sz="1000"/>
              <a:t>Source: Accenture, Mobile Web Watch 2011</a:t>
            </a:r>
          </a:p>
        </p:txBody>
      </p:sp>
      <p:graphicFrame>
        <p:nvGraphicFramePr>
          <p:cNvPr id="7" name="Object 38"/>
          <p:cNvGraphicFramePr>
            <a:graphicFrameLocks/>
          </p:cNvGraphicFramePr>
          <p:nvPr>
            <p:custDataLst>
              <p:tags r:id="rId6"/>
            </p:custDataLst>
          </p:nvPr>
        </p:nvGraphicFramePr>
        <p:xfrm>
          <a:off x="107950" y="2400300"/>
          <a:ext cx="8893175" cy="30130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0"/>
          </a:graphicData>
        </a:graphic>
      </p:graphicFrame>
      <p:grpSp>
        <p:nvGrpSpPr>
          <p:cNvPr id="5" name="Gruppieren 4"/>
          <p:cNvGrpSpPr>
            <a:grpSpLocks/>
          </p:cNvGrpSpPr>
          <p:nvPr/>
        </p:nvGrpSpPr>
        <p:grpSpPr bwMode="auto">
          <a:xfrm>
            <a:off x="698500" y="2185988"/>
            <a:ext cx="7756525" cy="2601912"/>
            <a:chOff x="698666" y="2186310"/>
            <a:chExt cx="7756998" cy="2601736"/>
          </a:xfrm>
        </p:grpSpPr>
        <p:sp>
          <p:nvSpPr>
            <p:cNvPr id="40" name="Rectangle 39"/>
            <p:cNvSpPr/>
            <p:nvPr>
              <p:custDataLst>
                <p:tags r:id="rId11"/>
              </p:custDataLst>
            </p:nvPr>
          </p:nvSpPr>
          <p:spPr bwMode="auto">
            <a:xfrm>
              <a:off x="8049239" y="4575335"/>
              <a:ext cx="406425" cy="212711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  <a:extLst>
              <a:ext uri="{909E8E84-426E-40DD-AFC4-6F175D3DCCD1}"/>
              <a:ext uri="{91240B29-F687-4F45-9708-019B960494DF}"/>
            </a:extLst>
          </p:spPr>
          <p:txBody>
            <a:bodyPr wrap="none" lIns="25400" tIns="0" rIns="25400" bIns="0" anchor="b"/>
            <a:lstStyle/>
            <a:p>
              <a:pPr algn="ctr">
                <a:defRPr/>
              </a:pPr>
              <a:fld id="{6E3BA95B-EAD1-495B-BEF8-9E9B9487C6B9}" type="datetime'''''''''''''''1''''''''''''0''''''''''''''''''''%'''''''''''''">
                <a:rPr lang="en-US" kern="0">
                  <a:latin typeface="Arial"/>
                  <a:cs typeface="+mn-cs"/>
                  <a:sym typeface="Arial"/>
                </a:rPr>
                <a:pPr algn="ctr">
                  <a:defRPr/>
                </a:pPr>
                <a:t>10%</a:t>
              </a:fld>
              <a:endParaRPr lang="en-US" kern="0" dirty="0">
                <a:latin typeface="Arial"/>
                <a:cs typeface="+mn-cs"/>
                <a:sym typeface="Arial"/>
              </a:endParaRPr>
            </a:p>
          </p:txBody>
        </p:sp>
        <p:sp>
          <p:nvSpPr>
            <p:cNvPr id="72" name="Rectangle 71"/>
            <p:cNvSpPr/>
            <p:nvPr>
              <p:custDataLst>
                <p:tags r:id="rId12"/>
              </p:custDataLst>
            </p:nvPr>
          </p:nvSpPr>
          <p:spPr bwMode="auto">
            <a:xfrm>
              <a:off x="5618629" y="4476917"/>
              <a:ext cx="406425" cy="212711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  <a:extLst>
              <a:ext uri="{909E8E84-426E-40DD-AFC4-6F175D3DCCD1}"/>
              <a:ext uri="{91240B29-F687-4F45-9708-019B960494DF}"/>
            </a:extLst>
          </p:spPr>
          <p:txBody>
            <a:bodyPr wrap="none" lIns="25400" tIns="0" rIns="25400" bIns="0" anchor="b"/>
            <a:lstStyle/>
            <a:p>
              <a:pPr algn="ctr">
                <a:defRPr/>
              </a:pPr>
              <a:fld id="{701D1BAB-EC15-45F3-8D7A-4F134640FE54}" type="datetime'''''''''''''''''1''''''''''''2%'''''''''">
                <a:rPr lang="en-US" kern="0">
                  <a:latin typeface="Arial"/>
                  <a:cs typeface="+mn-cs"/>
                  <a:sym typeface="Arial"/>
                </a:rPr>
                <a:pPr algn="ctr">
                  <a:defRPr/>
                </a:pPr>
                <a:t>12%</a:t>
              </a:fld>
              <a:endParaRPr lang="en-US" kern="0" dirty="0">
                <a:latin typeface="Arial"/>
                <a:cs typeface="+mn-cs"/>
                <a:sym typeface="Arial"/>
              </a:endParaRPr>
            </a:p>
          </p:txBody>
        </p:sp>
        <p:sp>
          <p:nvSpPr>
            <p:cNvPr id="73" name="Rectangle 72"/>
            <p:cNvSpPr/>
            <p:nvPr>
              <p:custDataLst>
                <p:tags r:id="rId13"/>
              </p:custDataLst>
            </p:nvPr>
          </p:nvSpPr>
          <p:spPr bwMode="auto">
            <a:xfrm>
              <a:off x="6810914" y="4361038"/>
              <a:ext cx="406425" cy="212711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  <a:extLst>
              <a:ext uri="{909E8E84-426E-40DD-AFC4-6F175D3DCCD1}"/>
              <a:ext uri="{91240B29-F687-4F45-9708-019B960494DF}"/>
            </a:extLst>
          </p:spPr>
          <p:txBody>
            <a:bodyPr wrap="none" lIns="25400" tIns="0" rIns="25400" bIns="0" anchor="b"/>
            <a:lstStyle/>
            <a:p>
              <a:pPr algn="ctr">
                <a:defRPr/>
              </a:pPr>
              <a:fld id="{24CF749A-73E4-43EE-8619-D06B4EEE6358}" type="datetime'''''''1''''''''''''''''''''''''''''''''''''''''''''''''5%'''">
                <a:rPr lang="en-US" kern="0">
                  <a:latin typeface="Arial"/>
                  <a:cs typeface="+mn-cs"/>
                  <a:sym typeface="Arial"/>
                </a:rPr>
                <a:pPr algn="ctr">
                  <a:defRPr/>
                </a:pPr>
                <a:t>15%</a:t>
              </a:fld>
              <a:endParaRPr lang="en-US" kern="0" dirty="0">
                <a:latin typeface="Arial"/>
                <a:cs typeface="+mn-cs"/>
                <a:sym typeface="Arial"/>
              </a:endParaRPr>
            </a:p>
          </p:txBody>
        </p:sp>
        <p:sp>
          <p:nvSpPr>
            <p:cNvPr id="76" name="Rectangle 75"/>
            <p:cNvSpPr/>
            <p:nvPr>
              <p:custDataLst>
                <p:tags r:id="rId14"/>
              </p:custDataLst>
            </p:nvPr>
          </p:nvSpPr>
          <p:spPr bwMode="auto">
            <a:xfrm>
              <a:off x="3165791" y="4091181"/>
              <a:ext cx="406425" cy="212711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  <a:extLst>
              <a:ext uri="{909E8E84-426E-40DD-AFC4-6F175D3DCCD1}"/>
              <a:ext uri="{91240B29-F687-4F45-9708-019B960494DF}"/>
            </a:extLst>
          </p:spPr>
          <p:txBody>
            <a:bodyPr wrap="none" lIns="25400" tIns="0" rIns="25400" bIns="0" anchor="b"/>
            <a:lstStyle/>
            <a:p>
              <a:pPr algn="ctr">
                <a:defRPr/>
              </a:pPr>
              <a:fld id="{CB7D475D-9DB6-4C69-A37B-DBBD67A715EB}" type="datetime'''''''''''''''2''1''''''''''''''''''''''''''''''%'''''''''">
                <a:rPr lang="en-US" kern="0">
                  <a:latin typeface="Arial"/>
                  <a:cs typeface="+mn-cs"/>
                  <a:sym typeface="Arial"/>
                </a:rPr>
                <a:pPr algn="ctr">
                  <a:defRPr/>
                </a:pPr>
                <a:t>21%</a:t>
              </a:fld>
              <a:endParaRPr lang="en-US" kern="0" dirty="0">
                <a:latin typeface="Arial"/>
                <a:cs typeface="+mn-cs"/>
                <a:sym typeface="Arial"/>
              </a:endParaRPr>
            </a:p>
          </p:txBody>
        </p:sp>
        <p:sp>
          <p:nvSpPr>
            <p:cNvPr id="77" name="Rectangle 76"/>
            <p:cNvSpPr/>
            <p:nvPr>
              <p:custDataLst>
                <p:tags r:id="rId15"/>
              </p:custDataLst>
            </p:nvPr>
          </p:nvSpPr>
          <p:spPr bwMode="auto">
            <a:xfrm>
              <a:off x="1890952" y="2186310"/>
              <a:ext cx="404837" cy="212711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  <a:extLst>
              <a:ext uri="{909E8E84-426E-40DD-AFC4-6F175D3DCCD1}"/>
              <a:ext uri="{91240B29-F687-4F45-9708-019B960494DF}"/>
            </a:extLst>
          </p:spPr>
          <p:txBody>
            <a:bodyPr wrap="none" lIns="25400" tIns="0" rIns="25400" bIns="0" anchor="b"/>
            <a:lstStyle/>
            <a:p>
              <a:pPr algn="ctr">
                <a:defRPr/>
              </a:pPr>
              <a:fld id="{684B6B9A-CA12-4520-9354-CBA699DFC2EF}" type="datetime'6''''''2''''''''''''''''''%'''''''''''''''''">
                <a:rPr lang="en-US" kern="0">
                  <a:latin typeface="Arial"/>
                  <a:cs typeface="+mn-cs"/>
                  <a:sym typeface="Arial"/>
                </a:rPr>
                <a:pPr algn="ctr">
                  <a:defRPr/>
                </a:pPr>
                <a:t>62%</a:t>
              </a:fld>
              <a:endParaRPr lang="en-US" kern="0" dirty="0">
                <a:latin typeface="Arial"/>
                <a:cs typeface="+mn-cs"/>
                <a:sym typeface="Arial"/>
              </a:endParaRPr>
            </a:p>
          </p:txBody>
        </p:sp>
        <p:sp>
          <p:nvSpPr>
            <p:cNvPr id="78" name="Rectangle 77"/>
            <p:cNvSpPr/>
            <p:nvPr>
              <p:custDataLst>
                <p:tags r:id="rId16"/>
              </p:custDataLst>
            </p:nvPr>
          </p:nvSpPr>
          <p:spPr bwMode="auto">
            <a:xfrm>
              <a:off x="698666" y="3154619"/>
              <a:ext cx="406425" cy="212711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  <a:extLst>
              <a:ext uri="{909E8E84-426E-40DD-AFC4-6F175D3DCCD1}"/>
              <a:ext uri="{91240B29-F687-4F45-9708-019B960494DF}"/>
            </a:extLst>
          </p:spPr>
          <p:txBody>
            <a:bodyPr wrap="none" lIns="25400" tIns="0" rIns="25400" bIns="0" anchor="b"/>
            <a:lstStyle/>
            <a:p>
              <a:pPr algn="ctr">
                <a:defRPr/>
              </a:pPr>
              <a:fld id="{F9400D4F-D8E8-4F3F-8539-8ADE82D208C8}" type="datetime'''''''''''''''''''''''4''1''''''''%'''''''''''''''''''''''''''">
                <a:rPr lang="en-US" kern="0">
                  <a:latin typeface="Arial"/>
                  <a:cs typeface="+mn-cs"/>
                  <a:sym typeface="Arial"/>
                </a:rPr>
                <a:pPr algn="ctr">
                  <a:defRPr/>
                </a:pPr>
                <a:t>41%</a:t>
              </a:fld>
              <a:endParaRPr lang="en-US" kern="0" dirty="0">
                <a:latin typeface="Arial"/>
                <a:cs typeface="+mn-cs"/>
                <a:sym typeface="Arial"/>
              </a:endParaRPr>
            </a:p>
          </p:txBody>
        </p:sp>
      </p:grpSp>
      <p:sp>
        <p:nvSpPr>
          <p:cNvPr id="79" name="Rectangle 78"/>
          <p:cNvSpPr/>
          <p:nvPr>
            <p:custDataLst>
              <p:tags r:id="rId7"/>
            </p:custDataLst>
          </p:nvPr>
        </p:nvSpPr>
        <p:spPr bwMode="gray">
          <a:xfrm>
            <a:off x="7397750" y="2079625"/>
            <a:ext cx="250825" cy="179388"/>
          </a:xfrm>
          <a:prstGeom prst="rect">
            <a:avLst/>
          </a:prstGeom>
          <a:solidFill>
            <a:schemeClr val="accent3"/>
          </a:solidFill>
          <a:ln w="6350">
            <a:noFill/>
            <a:miter lim="800000"/>
            <a:headEnd/>
            <a:tailEnd/>
          </a:ln>
          <a:effectLst/>
        </p:spPr>
        <p:txBody>
          <a:bodyPr wrap="none" lIns="144000" tIns="0" rIns="72000" bIns="0" anchor="ctr"/>
          <a:lstStyle/>
          <a:p>
            <a:pPr marL="263525">
              <a:spcBef>
                <a:spcPts val="0"/>
              </a:spcBef>
              <a:spcAft>
                <a:spcPts val="300"/>
              </a:spcAft>
              <a:defRPr/>
            </a:pPr>
            <a:r>
              <a:rPr lang="en-US" kern="0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Average</a:t>
            </a:r>
          </a:p>
        </p:txBody>
      </p:sp>
      <p:sp>
        <p:nvSpPr>
          <p:cNvPr id="80" name="Rectangle 79"/>
          <p:cNvSpPr/>
          <p:nvPr>
            <p:custDataLst>
              <p:tags r:id="rId8"/>
            </p:custDataLst>
          </p:nvPr>
        </p:nvSpPr>
        <p:spPr bwMode="gray">
          <a:xfrm>
            <a:off x="7397750" y="2387600"/>
            <a:ext cx="250825" cy="179388"/>
          </a:xfrm>
          <a:prstGeom prst="rect">
            <a:avLst/>
          </a:prstGeom>
          <a:solidFill>
            <a:schemeClr val="accent2"/>
          </a:solidFill>
          <a:ln w="6350">
            <a:noFill/>
            <a:miter lim="800000"/>
            <a:headEnd/>
            <a:tailEnd/>
          </a:ln>
          <a:effectLst/>
        </p:spPr>
        <p:txBody>
          <a:bodyPr wrap="none" lIns="144000" tIns="0" rIns="72000" bIns="0" anchor="ctr"/>
          <a:lstStyle/>
          <a:p>
            <a:pPr marL="263525">
              <a:spcBef>
                <a:spcPts val="0"/>
              </a:spcBef>
              <a:spcAft>
                <a:spcPts val="300"/>
              </a:spcAft>
              <a:defRPr/>
            </a:pPr>
            <a:r>
              <a:rPr lang="en-US" kern="0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Private</a:t>
            </a:r>
          </a:p>
        </p:txBody>
      </p:sp>
      <p:sp>
        <p:nvSpPr>
          <p:cNvPr id="81" name="Rectangle 80"/>
          <p:cNvSpPr/>
          <p:nvPr>
            <p:custDataLst>
              <p:tags r:id="rId9"/>
            </p:custDataLst>
          </p:nvPr>
        </p:nvSpPr>
        <p:spPr bwMode="gray">
          <a:xfrm>
            <a:off x="7397750" y="2697163"/>
            <a:ext cx="250825" cy="179387"/>
          </a:xfrm>
          <a:prstGeom prst="rect">
            <a:avLst/>
          </a:prstGeom>
          <a:solidFill>
            <a:schemeClr val="accent1"/>
          </a:solidFill>
          <a:ln w="6350">
            <a:noFill/>
            <a:miter lim="800000"/>
            <a:headEnd/>
            <a:tailEnd/>
          </a:ln>
          <a:effectLst/>
        </p:spPr>
        <p:txBody>
          <a:bodyPr wrap="none" lIns="144000" tIns="0" rIns="72000" bIns="0" anchor="ctr"/>
          <a:lstStyle/>
          <a:p>
            <a:pPr marL="263525">
              <a:spcBef>
                <a:spcPts val="0"/>
              </a:spcBef>
              <a:spcAft>
                <a:spcPts val="300"/>
              </a:spcAft>
              <a:defRPr/>
            </a:pPr>
            <a:r>
              <a:rPr lang="en-US" kern="0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Business</a:t>
            </a:r>
          </a:p>
        </p:txBody>
      </p:sp>
      <p:sp>
        <p:nvSpPr>
          <p:cNvPr id="83" name="Rectangle 82"/>
          <p:cNvSpPr/>
          <p:nvPr>
            <p:custDataLst>
              <p:tags r:id="rId10"/>
            </p:custDataLst>
          </p:nvPr>
        </p:nvSpPr>
        <p:spPr>
          <a:xfrm>
            <a:off x="611188" y="5399088"/>
            <a:ext cx="3132137" cy="722312"/>
          </a:xfrm>
          <a:prstGeom prst="rect">
            <a:avLst/>
          </a:prstGeom>
        </p:spPr>
        <p:txBody>
          <a:bodyPr/>
          <a:lstStyle/>
          <a:p>
            <a:pPr algn="ctr">
              <a:defRPr/>
            </a:pPr>
            <a:r>
              <a:rPr lang="en-US" kern="0" dirty="0">
                <a:latin typeface="Arial"/>
                <a:sym typeface="Arial"/>
              </a:rPr>
              <a:t>I am using apps and download </a:t>
            </a:r>
            <a:r>
              <a:rPr lang="en-US" kern="0" dirty="0">
                <a:latin typeface="Arial"/>
                <a:sym typeface="Arial"/>
              </a:rPr>
              <a:t>them</a:t>
            </a:r>
            <a:endParaRPr lang="en-US" kern="0" dirty="0">
              <a:latin typeface="Arial"/>
              <a:sym typeface="Arial"/>
            </a:endParaRPr>
          </a:p>
        </p:txBody>
      </p:sp>
      <p:sp>
        <p:nvSpPr>
          <p:cNvPr id="26" name="Rechteck 25"/>
          <p:cNvSpPr/>
          <p:nvPr/>
        </p:nvSpPr>
        <p:spPr bwMode="gray">
          <a:xfrm>
            <a:off x="0" y="1338263"/>
            <a:ext cx="9144000" cy="5519737"/>
          </a:xfrm>
          <a:prstGeom prst="rect">
            <a:avLst/>
          </a:prstGeom>
          <a:solidFill>
            <a:schemeClr val="bg1">
              <a:alpha val="85000"/>
            </a:scheme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lIns="72000" tIns="72000" rIns="72000" bIns="72000"/>
          <a:lstStyle/>
          <a:p>
            <a:pPr>
              <a:spcBef>
                <a:spcPts val="0"/>
              </a:spcBef>
              <a:spcAft>
                <a:spcPts val="300"/>
              </a:spcAft>
              <a:defRPr/>
            </a:pPr>
            <a:endParaRPr lang="en-US" sz="1600" kern="0" dirty="0" err="1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7" name="Rechteck 26"/>
          <p:cNvSpPr>
            <a:spLocks noChangeArrowheads="1"/>
          </p:cNvSpPr>
          <p:nvPr/>
        </p:nvSpPr>
        <p:spPr bwMode="auto">
          <a:xfrm>
            <a:off x="250825" y="2522538"/>
            <a:ext cx="7631113" cy="3278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285750" indent="-285750">
              <a:spcBef>
                <a:spcPts val="1800"/>
              </a:spcBef>
              <a:buFont typeface="Arial" charset="0"/>
              <a:buChar char="•"/>
            </a:pPr>
            <a:r>
              <a:rPr lang="en-US" sz="2400" b="1">
                <a:solidFill>
                  <a:schemeClr val="accent2"/>
                </a:solidFill>
              </a:rPr>
              <a:t>Business apps are still in an emerging stage</a:t>
            </a:r>
          </a:p>
          <a:p>
            <a:pPr marL="285750" indent="-285750">
              <a:spcBef>
                <a:spcPts val="1800"/>
              </a:spcBef>
              <a:buFont typeface="Arial" charset="0"/>
              <a:buChar char="•"/>
            </a:pPr>
            <a:r>
              <a:rPr lang="en-US" sz="2400" b="1">
                <a:solidFill>
                  <a:schemeClr val="accent2"/>
                </a:solidFill>
              </a:rPr>
              <a:t>Security issues and maintenance are a major concerns to companies</a:t>
            </a:r>
          </a:p>
          <a:p>
            <a:pPr marL="285750" indent="-285750">
              <a:spcBef>
                <a:spcPts val="1800"/>
              </a:spcBef>
              <a:buFont typeface="Arial" charset="0"/>
              <a:buChar char="•"/>
            </a:pPr>
            <a:r>
              <a:rPr lang="en-US" sz="2400" b="1">
                <a:solidFill>
                  <a:schemeClr val="accent2"/>
                </a:solidFill>
              </a:rPr>
              <a:t>Integration of company’s data and processes is still often a challenge</a:t>
            </a:r>
          </a:p>
          <a:p>
            <a:pPr marL="285750" indent="-285750">
              <a:spcBef>
                <a:spcPts val="1800"/>
              </a:spcBef>
              <a:buFont typeface="Arial" charset="0"/>
              <a:buChar char="•"/>
            </a:pPr>
            <a:r>
              <a:rPr lang="en-US" sz="2400" b="1">
                <a:solidFill>
                  <a:schemeClr val="accent2"/>
                </a:solidFill>
              </a:rPr>
              <a:t>In 2013, 35% of world´s workforce is expected to use mobile devices – and then also business apps</a:t>
            </a:r>
          </a:p>
        </p:txBody>
      </p:sp>
    </p:spTree>
  </p:cSld>
  <p:clrMapOvr>
    <a:masterClrMapping/>
  </p:clrMapOvr>
  <p:transition spd="slow">
    <p:push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500"/>
                            </p:stCondLst>
                            <p:childTnLst>
                              <p:par>
                                <p:cTn id="15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500"/>
                            </p:stCondLst>
                            <p:childTnLst>
                              <p:par>
                                <p:cTn id="23" presetID="22" presetClass="entr" presetSubtype="8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000"/>
                            </p:stCondLst>
                            <p:childTnLst>
                              <p:par>
                                <p:cTn id="27" presetID="22" presetClass="entr" presetSubtype="8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9" dur="500"/>
                                        <p:tgtEl>
                                          <p:spTgt spid="2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500"/>
                                        <p:tgtEl>
                                          <p:spTgt spid="2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500"/>
                            </p:stCondLst>
                            <p:childTnLst>
                              <p:par>
                                <p:cTn id="36" presetID="22" presetClass="entr" presetSubtype="8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8" dur="500"/>
                                        <p:tgtEl>
                                          <p:spTgt spid="2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2" grpId="0"/>
      <p:bldGraphic spid="7" grpId="0">
        <p:bldAsOne/>
      </p:bldGraphic>
      <p:bldP spid="83" grpId="0"/>
      <p:bldP spid="26" grpId="0" animBg="1"/>
      <p:bldP spid="27" grpId="0" build="p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406" name="Picture 70" descr="B:\1_Kunden\Accenture\1111_PPT_AppEconomy\Bilder\shutterstock_6890632.jpg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0" y="1333500"/>
            <a:ext cx="9144000" cy="5514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4448" name="Object 11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4448" name="think-cell Slide" r:id="rId10" imgW="360" imgH="360" progId="">
              <p:embed/>
            </p:oleObj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>
              <a:defRPr/>
            </a:pPr>
            <a:endParaRPr lang="en-US" sz="1400" b="1" kern="0" dirty="0">
              <a:solidFill>
                <a:sysClr val="windowText" lastClr="000000"/>
              </a:solidFill>
              <a:latin typeface="Arial"/>
              <a:cs typeface="+mn-cs"/>
              <a:sym typeface="Arial"/>
            </a:endParaRPr>
          </a:p>
        </p:txBody>
      </p:sp>
      <p:sp>
        <p:nvSpPr>
          <p:cNvPr id="14451" name="Title 3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 smtClean="0">
                <a:latin typeface="Arial" charset="0"/>
              </a:rPr>
              <a:t>The App Economy has the potential to enable all industries and change existing industry dynamics</a:t>
            </a:r>
          </a:p>
        </p:txBody>
      </p:sp>
      <p:sp>
        <p:nvSpPr>
          <p:cNvPr id="5" name="Inhaltsplatzhalter 3"/>
          <p:cNvSpPr>
            <a:spLocks noGrp="1"/>
          </p:cNvSpPr>
          <p:nvPr>
            <p:ph idx="1"/>
            <p:custDataLst>
              <p:tags r:id="rId5"/>
            </p:custDataLst>
          </p:nvPr>
        </p:nvSpPr>
        <p:spPr>
          <a:xfrm>
            <a:off x="250825" y="1500188"/>
            <a:ext cx="3168650" cy="4881562"/>
          </a:xfrm>
        </p:spPr>
        <p:txBody>
          <a:bodyPr tIns="0">
            <a:noAutofit/>
          </a:bodyPr>
          <a:lstStyle/>
          <a:p>
            <a:pPr marL="612" indent="0">
              <a:buFont typeface="Arial" pitchFamily="34" charset="0"/>
              <a:buNone/>
              <a:defRPr/>
            </a:pPr>
            <a:r>
              <a:rPr lang="en-US"/>
              <a:t>Apps will influence, change or replace business processes in all industries through features like:</a:t>
            </a:r>
          </a:p>
          <a:p>
            <a:pPr marL="270850" indent="-271463">
              <a:defRPr/>
            </a:pPr>
            <a:r>
              <a:rPr lang="en-US"/>
              <a:t>1-click information</a:t>
            </a:r>
          </a:p>
          <a:p>
            <a:pPr marL="270850" indent="-271463">
              <a:defRPr/>
            </a:pPr>
            <a:r>
              <a:rPr lang="en-US"/>
              <a:t>Social media</a:t>
            </a:r>
          </a:p>
          <a:p>
            <a:pPr marL="270850" indent="-271463">
              <a:defRPr/>
            </a:pPr>
            <a:r>
              <a:rPr lang="en-US"/>
              <a:t>Consumer tracking</a:t>
            </a:r>
          </a:p>
          <a:p>
            <a:pPr marL="270850" indent="-271463">
              <a:defRPr/>
            </a:pPr>
            <a:r>
              <a:rPr lang="en-US"/>
              <a:t>Location-based services</a:t>
            </a:r>
          </a:p>
          <a:p>
            <a:pPr marL="270850" indent="-271463">
              <a:defRPr/>
            </a:pPr>
            <a:r>
              <a:rPr lang="en-US"/>
              <a:t>Augmented reality</a:t>
            </a:r>
          </a:p>
          <a:p>
            <a:pPr marL="270850" indent="-271463">
              <a:defRPr/>
            </a:pPr>
            <a:r>
              <a:rPr lang="en-US"/>
              <a:t>Always and everywhere online</a:t>
            </a:r>
          </a:p>
        </p:txBody>
      </p:sp>
      <p:sp>
        <p:nvSpPr>
          <p:cNvPr id="14453" name="TextBox 5"/>
          <p:cNvSpPr txBox="1">
            <a:spLocks noChangeArrowheads="1"/>
          </p:cNvSpPr>
          <p:nvPr/>
        </p:nvSpPr>
        <p:spPr bwMode="auto">
          <a:xfrm>
            <a:off x="250825" y="6373813"/>
            <a:ext cx="8642350" cy="153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>
              <a:tabLst>
                <a:tab pos="190500" algn="r"/>
                <a:tab pos="292100" algn="l"/>
              </a:tabLst>
            </a:pPr>
            <a:r>
              <a:rPr lang="en-US" sz="1000"/>
              <a:t>Source, Columbia University, Harman, IDC, MobiHealthNews</a:t>
            </a:r>
          </a:p>
        </p:txBody>
      </p:sp>
      <p:graphicFrame>
        <p:nvGraphicFramePr>
          <p:cNvPr id="24" name="Group 63"/>
          <p:cNvGraphicFramePr>
            <a:graphicFrameLocks noGrp="1"/>
          </p:cNvGraphicFramePr>
          <p:nvPr>
            <p:custDataLst>
              <p:tags r:id="rId6"/>
            </p:custDataLst>
          </p:nvPr>
        </p:nvGraphicFramePr>
        <p:xfrm>
          <a:off x="3822700" y="1500188"/>
          <a:ext cx="5056188" cy="2495550"/>
        </p:xfrm>
        <a:graphic>
          <a:graphicData uri="http://schemas.openxmlformats.org/drawingml/2006/table">
            <a:tbl>
              <a:tblPr/>
              <a:tblGrid>
                <a:gridCol w="2217682"/>
                <a:gridCol w="946569"/>
                <a:gridCol w="860517"/>
                <a:gridCol w="1032060"/>
              </a:tblGrid>
              <a:tr h="174079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endParaRPr kumimoji="0" lang="en-GB" sz="1800" b="1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sym typeface="Wingdings" pitchFamily="2" charset="2"/>
                      </a:endParaRPr>
                    </a:p>
                  </a:txBody>
                  <a:tcPr marL="0" marR="72000" marT="72000" marB="72000" anchor="b" horzOverflow="overflow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8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sym typeface="Wingdings" pitchFamily="2" charset="2"/>
                        </a:rPr>
                        <a:t>2/2010</a:t>
                      </a:r>
                    </a:p>
                  </a:txBody>
                  <a:tcPr marL="108000" marR="0" marT="72000" marB="72000" anchor="b" horzOverflow="overflow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8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sym typeface="Wingdings" pitchFamily="2" charset="2"/>
                        </a:rPr>
                        <a:t>9/2010</a:t>
                      </a:r>
                    </a:p>
                  </a:txBody>
                  <a:tcPr marL="108000" marR="0" marT="72000" marB="72000" anchor="b" horzOverflow="overflow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Pct val="10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8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+mj-lt"/>
                          <a:sym typeface="Wingdings" pitchFamily="2" charset="2"/>
                        </a:rPr>
                        <a:t>Growth</a:t>
                      </a:r>
                    </a:p>
                  </a:txBody>
                  <a:tcPr marL="108000" marR="0" marT="72000" marB="72000" anchor="b" horzOverflow="overflow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8011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0" i="0" u="none" strike="noStrike" baseline="0" dirty="0" smtClean="0">
                          <a:solidFill>
                            <a:srgbClr val="000000"/>
                          </a:solidFill>
                          <a:latin typeface="+mj-lt"/>
                        </a:rPr>
                        <a:t>Apple </a:t>
                      </a:r>
                      <a:r>
                        <a:rPr lang="en-US" sz="1800" b="0" i="0" u="none" strike="noStrike" baseline="0" dirty="0" err="1" smtClean="0">
                          <a:solidFill>
                            <a:srgbClr val="000000"/>
                          </a:solidFill>
                          <a:latin typeface="+mj-lt"/>
                        </a:rPr>
                        <a:t>AppStore</a:t>
                      </a:r>
                      <a:endParaRPr lang="en-US" sz="1800" b="0" i="0" u="none" strike="noStrike" baseline="0" dirty="0" smtClean="0">
                        <a:solidFill>
                          <a:srgbClr val="000000"/>
                        </a:solidFill>
                        <a:latin typeface="+mj-lt"/>
                      </a:endParaRPr>
                    </a:p>
                    <a:p>
                      <a:pPr algn="l" fontAlgn="b"/>
                      <a:r>
                        <a:rPr lang="en-US" sz="1800" b="0" i="0" u="none" strike="noStrike" baseline="0" dirty="0" smtClean="0">
                          <a:solidFill>
                            <a:srgbClr val="000000"/>
                          </a:solidFill>
                          <a:latin typeface="+mj-lt"/>
                        </a:rPr>
                        <a:t>Health Apps </a:t>
                      </a:r>
                      <a:endParaRPr lang="en-US" sz="1800" b="0" i="0" u="none" strike="noStrike" baseline="0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0" marR="72000" marT="72000" marB="72000">
                    <a:lnL>
                      <a:noFill/>
                    </a:lnL>
                    <a:lnR cap="flat">
                      <a:noFill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0" i="0" u="none" strike="noStrike" baseline="0" dirty="0" smtClean="0">
                          <a:solidFill>
                            <a:srgbClr val="000000"/>
                          </a:solidFill>
                          <a:latin typeface="+mj-lt"/>
                        </a:rPr>
                        <a:t>4,276</a:t>
                      </a:r>
                      <a:endParaRPr lang="en-US" sz="1800" b="0" i="0" u="none" strike="noStrike" baseline="0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108000" marR="0" marT="72000" marB="72000">
                    <a:lnL>
                      <a:noFill/>
                    </a:lnL>
                    <a:lnR cap="flat">
                      <a:noFill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0" i="0" u="none" strike="noStrike" baseline="0" dirty="0" smtClean="0">
                          <a:solidFill>
                            <a:srgbClr val="000000"/>
                          </a:solidFill>
                          <a:latin typeface="+mj-lt"/>
                        </a:rPr>
                        <a:t>2,860</a:t>
                      </a:r>
                      <a:endParaRPr lang="en-US" sz="1800" b="0" i="0" u="none" strike="noStrike" baseline="0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108000" marR="0" marT="72000" marB="72000">
                    <a:lnL>
                      <a:noFill/>
                    </a:lnL>
                    <a:lnR cap="flat">
                      <a:noFill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1" i="0" u="none" strike="noStrike" baseline="0" dirty="0" smtClean="0">
                          <a:solidFill>
                            <a:schemeClr val="accent2"/>
                          </a:solidFill>
                          <a:latin typeface="+mj-lt"/>
                        </a:rPr>
                        <a:t>67%</a:t>
                      </a:r>
                      <a:endParaRPr lang="en-US" sz="1800" b="1" i="0" u="none" strike="noStrike" baseline="0" dirty="0">
                        <a:solidFill>
                          <a:schemeClr val="accent2"/>
                        </a:solidFill>
                        <a:latin typeface="+mj-lt"/>
                      </a:endParaRPr>
                    </a:p>
                  </a:txBody>
                  <a:tcPr marL="108000" marR="36000" marT="72000" marB="72000">
                    <a:lnL>
                      <a:noFill/>
                    </a:lnL>
                    <a:lnR cap="flat">
                      <a:noFill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8011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0" i="0" u="none" strike="noStrike" baseline="0" dirty="0" smtClean="0">
                          <a:solidFill>
                            <a:srgbClr val="000000"/>
                          </a:solidFill>
                          <a:latin typeface="+mj-lt"/>
                        </a:rPr>
                        <a:t>Google Android Health Apps</a:t>
                      </a:r>
                      <a:endParaRPr lang="en-US" sz="1800" b="0" i="0" u="none" strike="noStrike" baseline="0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0" marR="72000" marT="72000" marB="72000">
                    <a:lnL>
                      <a:noFill/>
                    </a:lnL>
                    <a:lnR cap="flat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0" i="0" u="none" strike="noStrike" baseline="0" dirty="0" smtClean="0">
                          <a:solidFill>
                            <a:srgbClr val="000000"/>
                          </a:solidFill>
                          <a:latin typeface="+mj-lt"/>
                        </a:rPr>
                        <a:t>505</a:t>
                      </a:r>
                      <a:endParaRPr lang="en-US" sz="1800" b="0" i="0" u="none" strike="noStrike" baseline="0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108000" marR="0" marT="72000" marB="72000">
                    <a:lnL>
                      <a:noFill/>
                    </a:lnL>
                    <a:lnR cap="flat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0" i="0" u="none" strike="noStrike" baseline="0" dirty="0" smtClean="0">
                          <a:solidFill>
                            <a:srgbClr val="000000"/>
                          </a:solidFill>
                          <a:latin typeface="+mj-lt"/>
                        </a:rPr>
                        <a:t>791</a:t>
                      </a:r>
                      <a:endParaRPr lang="en-US" sz="1800" b="0" i="0" u="none" strike="noStrike" baseline="0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108000" marR="0" marT="72000" marB="72000">
                    <a:lnL>
                      <a:noFill/>
                    </a:lnL>
                    <a:lnR cap="flat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1" i="0" u="none" strike="noStrike" baseline="0" dirty="0" smtClean="0">
                          <a:solidFill>
                            <a:schemeClr val="accent2"/>
                          </a:solidFill>
                          <a:latin typeface="+mj-lt"/>
                        </a:rPr>
                        <a:t>157%</a:t>
                      </a:r>
                      <a:endParaRPr lang="en-US" sz="1800" b="1" i="0" u="none" strike="noStrike" baseline="0" dirty="0">
                        <a:solidFill>
                          <a:schemeClr val="accent2"/>
                        </a:solidFill>
                        <a:latin typeface="+mj-lt"/>
                      </a:endParaRPr>
                    </a:p>
                  </a:txBody>
                  <a:tcPr marL="108000" marR="36000" marT="72000" marB="72000">
                    <a:lnL>
                      <a:noFill/>
                    </a:lnL>
                    <a:lnR cap="flat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8011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0" i="0" u="none" strike="noStrike" baseline="0" dirty="0" smtClean="0">
                          <a:solidFill>
                            <a:srgbClr val="000000"/>
                          </a:solidFill>
                          <a:latin typeface="+mj-lt"/>
                        </a:rPr>
                        <a:t>BlackBerry App World Health Apps</a:t>
                      </a:r>
                      <a:endParaRPr lang="en-US" sz="1800" b="0" i="0" u="none" strike="noStrike" baseline="0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0" marR="72000" marT="72000" marB="72000">
                    <a:lnL>
                      <a:noFill/>
                    </a:lnL>
                    <a:lnR cap="flat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0" i="0" u="none" strike="noStrike" baseline="0" dirty="0" smtClean="0">
                          <a:solidFill>
                            <a:srgbClr val="000000"/>
                          </a:solidFill>
                          <a:latin typeface="+mj-lt"/>
                        </a:rPr>
                        <a:t>140</a:t>
                      </a:r>
                      <a:endParaRPr lang="en-US" sz="1800" b="0" i="0" u="none" strike="noStrike" baseline="0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108000" marR="0" marT="72000" marB="72000">
                    <a:lnL>
                      <a:noFill/>
                    </a:lnL>
                    <a:lnR cap="flat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0" i="0" u="none" strike="noStrike" baseline="0" dirty="0" smtClean="0">
                          <a:solidFill>
                            <a:srgbClr val="000000"/>
                          </a:solidFill>
                          <a:latin typeface="+mj-lt"/>
                        </a:rPr>
                        <a:t>338</a:t>
                      </a:r>
                      <a:endParaRPr lang="en-US" sz="1800" b="0" i="0" u="none" strike="noStrike" baseline="0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108000" marR="0" marT="72000" marB="72000">
                    <a:lnL>
                      <a:noFill/>
                    </a:lnL>
                    <a:lnR cap="flat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800" b="1" i="0" u="none" strike="noStrike" baseline="0" dirty="0" smtClean="0">
                          <a:solidFill>
                            <a:schemeClr val="accent2"/>
                          </a:solidFill>
                          <a:latin typeface="+mj-lt"/>
                        </a:rPr>
                        <a:t>141%</a:t>
                      </a:r>
                      <a:endParaRPr lang="en-US" sz="1800" b="1" i="0" u="none" strike="noStrike" baseline="0" dirty="0">
                        <a:solidFill>
                          <a:schemeClr val="accent2"/>
                        </a:solidFill>
                        <a:latin typeface="+mj-lt"/>
                      </a:endParaRPr>
                    </a:p>
                  </a:txBody>
                  <a:tcPr marL="108000" marR="36000" marT="72000" marB="72000">
                    <a:lnL>
                      <a:noFill/>
                    </a:lnL>
                    <a:lnR cap="flat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9" name="AMC_Footer"/>
          <p:cNvSpPr txBox="1">
            <a:spLocks/>
          </p:cNvSpPr>
          <p:nvPr/>
        </p:nvSpPr>
        <p:spPr>
          <a:xfrm>
            <a:off x="250825" y="6569075"/>
            <a:ext cx="5005388" cy="227013"/>
          </a:xfrm>
          <a:prstGeom prst="rect">
            <a:avLst/>
          </a:prstGeom>
        </p:spPr>
        <p:txBody>
          <a:bodyPr lIns="0" tIns="3600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>
              <a:defRPr/>
            </a:pPr>
            <a:r>
              <a:rPr lang="en-US" sz="800" dirty="0" smtClean="0">
                <a:solidFill>
                  <a:prstClr val="black"/>
                </a:solidFill>
                <a:latin typeface="+mn-lt"/>
                <a:cs typeface="Arial" pitchFamily="34" charset="0"/>
              </a:rPr>
              <a:t>Copyright © </a:t>
            </a:r>
            <a:r>
              <a:rPr lang="en-US" sz="800" dirty="0" smtClean="0">
                <a:latin typeface="+mn-lt"/>
                <a:cs typeface="Arial" pitchFamily="34" charset="0"/>
              </a:rPr>
              <a:t>2011</a:t>
            </a:r>
            <a:r>
              <a:rPr lang="en-US" sz="800" dirty="0" smtClean="0">
                <a:solidFill>
                  <a:prstClr val="black"/>
                </a:solidFill>
                <a:latin typeface="+mn-lt"/>
                <a:cs typeface="Arial" pitchFamily="34" charset="0"/>
              </a:rPr>
              <a:t> Accenture. All rights reserved.</a:t>
            </a:r>
            <a:endParaRPr lang="en-US" sz="800" dirty="0">
              <a:solidFill>
                <a:prstClr val="black"/>
              </a:solidFill>
              <a:latin typeface="+mn-lt"/>
              <a:cs typeface="Arial" pitchFamily="34" charset="0"/>
            </a:endParaRPr>
          </a:p>
        </p:txBody>
      </p:sp>
      <p:sp>
        <p:nvSpPr>
          <p:cNvPr id="10" name="Inhaltsplatzhalter 13"/>
          <p:cNvSpPr txBox="1">
            <a:spLocks/>
          </p:cNvSpPr>
          <p:nvPr/>
        </p:nvSpPr>
        <p:spPr>
          <a:xfrm>
            <a:off x="8496300" y="6569075"/>
            <a:ext cx="396875" cy="227013"/>
          </a:xfrm>
          <a:prstGeom prst="rect">
            <a:avLst/>
          </a:prstGeom>
        </p:spPr>
        <p:txBody>
          <a:bodyPr lIns="0" tIns="3600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algn="r">
              <a:defRPr/>
            </a:pPr>
            <a:fld id="{084FBA4A-D204-46EE-9C84-F8119C5A01B0}" type="slidenum">
              <a:rPr lang="en-US" sz="800" smtClean="0">
                <a:solidFill>
                  <a:prstClr val="black"/>
                </a:solidFill>
                <a:latin typeface="+mn-lt"/>
                <a:cs typeface="Arial" pitchFamily="34" charset="0"/>
              </a:rPr>
              <a:pPr algn="r">
                <a:defRPr/>
              </a:pPr>
              <a:t>9</a:t>
            </a:fld>
            <a:endParaRPr lang="en-US" sz="800" dirty="0">
              <a:solidFill>
                <a:prstClr val="black"/>
              </a:solidFill>
              <a:latin typeface="+mn-lt"/>
              <a:cs typeface="Arial" pitchFamily="34" charset="0"/>
            </a:endParaRPr>
          </a:p>
        </p:txBody>
      </p:sp>
    </p:spTree>
  </p:cSld>
  <p:clrMapOvr>
    <a:masterClrMapping/>
  </p:clrMapOvr>
  <p:transition spd="slow">
    <p:push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4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ERSION" val="V7.0"/>
  <p:tag name="VORLAGE" val="AMC_White_Molecule"/>
  <p:tag name="GROESSE" val="Small"/>
  <p:tag name="THINKCELLPRESENTATIONDONOTDELETE" val="&lt;?xml version=&quot;1.0&quot; encoding=&quot;UTF-16&quot; standalone=&quot;yes&quot;?&gt;&#10;&lt;root reqver=&quot;17839&quot;&gt;&lt;version val=&quot;21067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nGroupingDigits val=&quot;3&quot;/&gt;&lt;m_chGroupingSymbol&gt;,&lt;/m_chGroupingSymbol&gt;&lt;m_nGroupingDigits17909 val=&quot;3&quot;/&gt;&lt;m_chGroupingSymbol17909&gt;,&lt;/m_chGroupingSymbol17909&gt;&lt;/m_precDefault&gt;&lt;/CDefaultPrec&gt;&lt;/root&gt;"/>
  <p:tag name="THINKCELLUNDODONOTDELETE" val="7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64m1qbkJU.M_1kRtTbIn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LOjuCeWUUii0g2OxYPSf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JOmQoGrUOWIKoMMWeqG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1tSdcdpKkSh2xw50zoBJ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J0oSdLalEujQpFXfl_kO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.dZlZLs3EWZ67kk7_EL7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he1HS9WZUOm6XpGdYim3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JOmQoGrUOWIKoMMWeqG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1tSdcdpKkSh2xw50zoBJ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D50RgOJKk6wjJPGklZvE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JOmQoGrUOWIKoMMWeqG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1tSdcdpKkSh2xw50zoBJ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ve.P_rnUqp78VfEXfn5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IjMtWHkGkm_GsCtFDyEA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Cvl4zujqUeqU19PaJE.I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UGb5h2mokOVqlrGBbUVL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uAV.kEyfke3dBBKkruvC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B.Uit2okqmgHkUnQb9p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mkdrUjARUqEExPZ.H.8a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2blttHW0yDrDbHE0cv9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GC7nsIks0.O76sZEMqx2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3OZA1u9l0aZ9LCeRZ.fB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vG3Bu8w0Wcwe1BfHsyB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5DoO95cWk6tpctzTupkG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fKXhOv90GTAdJLZM79F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U_Tnz1x4k6Tv8k4xT.b3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oVCUf8RkGNSO9XP4E_C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DWNyInP0qJj1.M1hq_d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jAmUOEGq0.f.6zEvQK_P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D8WW8.7E2VFLqdTcpOl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b7CB_B0_06bm1mqOzMoT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LqJgN9D0KLl.FOabgeY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HZJeu.d4kKnt0qGsI5BB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b964iag9E2tOUhpSO7CP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kcSl5AEkaushz4H5zAi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JOmQoGrUOWIKoMMWeqG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1tSdcdpKkSh2xw50zoBJ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CB1tYFo2EiFLQVPfO97V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6OC91NIkqbOcZr70ZWA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1HiPFHun0eOno7lAV.RE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R6b097PUGLORTXaoISs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GNqkCAO6ECGHstcQTNOl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9rtEHMuFkKBbH8U10eAs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rsBEVq2UWTGZ2a0NTiJ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OjuChPHZk60jtgn5ap0I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v..Cxru6kmoGXbOAQycC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2vOPXQKU6WFHqK8JDDC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DWNyInP0qJj1.M1hq_d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QEjh_pbkaTJmn7Hw_Le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JFMgGtwSkWcxFiE2iGfk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5Oi138IfU.OnUIR.kSRw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HXej5doikOLct9OR1Umq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ht3wJwIH0CFDBKJBV5df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dS.LJAvUa3HrDAI0E4L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UDf9xWWk0ieowxf2e7Mu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5EFHXQoK0m15RNzy6ejc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JOmQoGrUOWIKoMMWeqG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WjvhhHAJUmyagSMGaIEx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1tSdcdpKkSh2xw50zoBJ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UrslduC.Umio.jOwbjYU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BkGjO7bWEq5m6Ksqjs5.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hdemN0EXkSfGTZ7zG._7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IXC74H69E.d54MmTSIuP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HmE8gNiEa_NVGmM3KFT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UrmsnvrAUmz5Xe7s_62N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_zs.drFUGYMeUTUseQL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qG4Yb5LE2f06loZOXlE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7KqkeLSlUym5YHktbYk0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_lDIz1QM0Cfa0UYsGGki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4d_COaohESer9kD55y98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yrS5C0LUeT2cyCEvtxe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JOmQoGrUOWIKoMMWeqG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1tSdcdpKkSh2xw50zoBJ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J0oSdLalEujQpFXfl_kO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.dZlZLs3EWZ67kk7_EL7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JOmQoGrUOWIKoMMWeqG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1tSdcdpKkSh2xw50zoBJ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drJrJ79EKPs6Z2ua.PS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J0oSdLalEujQpFXfl_kO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he1HS9WZUOm6XpGdYim3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BZYe40Xl0ql4qc8LaMuR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vK.lDZ_06r9ef0oig4E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9aFfMPvnkqNdVayeOSfp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.D_LW6djU6f1AGoibCyD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u9BHkCmiUqoI5YuXi0eM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TIC4WIwqUaFUrGjtffXY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ZX3kVkGEE2sa5cZwQocf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0RkLUH4YkuycPBpJYXFx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mc6UD1okmkhpd7RetTw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I2ddSlAzEKngfOrUk7lA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xwQg2zqUulFiOPUhkmV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bc09kE40i.4lmutitFF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g.z6x2bUCxaF94UVnNG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woWL.L8Um86lR1uR6j2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bqS7HcaESW6yAGLsNeG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HZf6J0jEGb5gGQZOUqy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9ODgO6rEGp_JjXAtDSH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x9GquIen0G6GHPgIvxjk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3qPsUnv70mcRiVQU.wNzw"/>
</p:tagLst>
</file>

<file path=ppt/theme/theme1.xml><?xml version="1.0" encoding="utf-8"?>
<a:theme xmlns:a="http://schemas.openxmlformats.org/drawingml/2006/main" name="Accenture Management Consulting White Molecule Small">
  <a:themeElements>
    <a:clrScheme name="Benutzerdefiniert 25">
      <a:dk1>
        <a:sysClr val="windowText" lastClr="000000"/>
      </a:dk1>
      <a:lt1>
        <a:sysClr val="window" lastClr="FFFFFF"/>
      </a:lt1>
      <a:dk2>
        <a:srgbClr val="666666"/>
      </a:dk2>
      <a:lt2>
        <a:srgbClr val="778888"/>
      </a:lt2>
      <a:accent1>
        <a:srgbClr val="2F539C"/>
      </a:accent1>
      <a:accent2>
        <a:srgbClr val="002266"/>
      </a:accent2>
      <a:accent3>
        <a:srgbClr val="88DD00"/>
      </a:accent3>
      <a:accent4>
        <a:srgbClr val="AADDEE"/>
      </a:accent4>
      <a:accent5>
        <a:srgbClr val="E0E0E0"/>
      </a:accent5>
      <a:accent6>
        <a:srgbClr val="E0E0E0"/>
      </a:accent6>
      <a:hlink>
        <a:srgbClr val="002266"/>
      </a:hlink>
      <a:folHlink>
        <a:srgbClr val="993399"/>
      </a:folHlink>
    </a:clrScheme>
    <a:fontScheme name="Benutzerdefiniert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778888">
            <a:lumMod val="20000"/>
            <a:lumOff val="80000"/>
          </a:srgbClr>
        </a:solidFill>
        <a:ln w="6350">
          <a:solidFill>
            <a:srgbClr val="778888">
              <a:lumMod val="20000"/>
              <a:lumOff val="80000"/>
            </a:srgbClr>
          </a:solidFill>
          <a:miter lim="800000"/>
          <a:headEnd/>
          <a:tailEnd/>
        </a:ln>
        <a:effectLst/>
      </a:spPr>
      <a:bodyPr vert="horz" wrap="square" lIns="72000" tIns="72000" rIns="72000" bIns="72000" numCol="1" rtlCol="0" anchor="t" anchorCtr="0" compatLnSpc="1">
        <a:prstTxWarp prst="textNoShape">
          <a:avLst/>
        </a:prstTxWarp>
        <a:no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ts val="0"/>
          </a:spcBef>
          <a:spcAft>
            <a:spcPts val="300"/>
          </a:spcAft>
          <a:buClrTx/>
          <a:buSzTx/>
          <a:buFontTx/>
          <a:buNone/>
          <a:tabLst/>
          <a:defRPr kumimoji="0" sz="1600" b="0" i="0" u="none" strike="noStrike" kern="0" cap="none" spc="0" normalizeH="0" baseline="0" noProof="0" dirty="0" err="1" smtClean="0">
            <a:ln>
              <a:noFill/>
            </a:ln>
            <a:solidFill>
              <a:sysClr val="windowText" lastClr="000000"/>
            </a:solidFill>
            <a:effectLst/>
            <a:uLnTx/>
            <a:uFillTx/>
            <a:latin typeface="Arial" pitchFamily="34" charset="0"/>
            <a:cs typeface="Arial" pitchFamily="34" charset="0"/>
          </a:defRPr>
        </a:defPPr>
      </a:lst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>
        <a:spAutoFit/>
      </a:bodyPr>
      <a:lstStyle>
        <a:defPPr algn="l">
          <a:defRPr sz="12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resentation.pot</Template>
  <TotalTime>0</TotalTime>
  <Words>893</Words>
  <Application>Microsoft Office PowerPoint</Application>
  <PresentationFormat>Bildschirmpräsentation (4:3)</PresentationFormat>
  <Paragraphs>205</Paragraphs>
  <Slides>12</Slides>
  <Notes>9</Notes>
  <HiddenSlides>0</HiddenSlides>
  <MMClips>1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Entwurfsvorlage</vt:lpstr>
      </vt:variant>
      <vt:variant>
        <vt:i4>3</vt:i4>
      </vt:variant>
      <vt:variant>
        <vt:lpstr>Eingebettete OLE-Server</vt:lpstr>
      </vt:variant>
      <vt:variant>
        <vt:i4>2</vt:i4>
      </vt:variant>
      <vt:variant>
        <vt:lpstr>Folientitel</vt:lpstr>
      </vt:variant>
      <vt:variant>
        <vt:i4>12</vt:i4>
      </vt:variant>
    </vt:vector>
  </HeadingPairs>
  <TitlesOfParts>
    <vt:vector size="20" baseType="lpstr">
      <vt:lpstr>Arial</vt:lpstr>
      <vt:lpstr>Calibri</vt:lpstr>
      <vt:lpstr>Wingdings</vt:lpstr>
      <vt:lpstr>Accenture Management Consulting White Molecule Small</vt:lpstr>
      <vt:lpstr>Accenture Management Consulting White Molecule Small</vt:lpstr>
      <vt:lpstr>Accenture Management Consulting White Molecule Small</vt:lpstr>
      <vt:lpstr>think-cell Slide</vt:lpstr>
      <vt:lpstr>Microsoft Excel-Diagramm</vt:lpstr>
      <vt:lpstr>Introduction into the App Economy</vt:lpstr>
      <vt:lpstr>Folie 2</vt:lpstr>
      <vt:lpstr>The App Economy is booming and affecting all areas of life and business</vt:lpstr>
      <vt:lpstr>Definitions of “App”, “App Economy” and  “App Marketplaces”</vt:lpstr>
      <vt:lpstr>Apps marketplaces will undergo the same development as internet portals; developers will follow the gold rush</vt:lpstr>
      <vt:lpstr>Apps have changed usability and user behavior; but the willingness to pay will continue to be limited</vt:lpstr>
      <vt:lpstr>Consumer electronic devices are likely to become pure output channels and the App Economy will dominate</vt:lpstr>
      <vt:lpstr>Business apps will gain momentum when data transmission is secure and cloud services are established</vt:lpstr>
      <vt:lpstr>The App Economy has the potential to enable all industries and change existing industry dynamics</vt:lpstr>
      <vt:lpstr>The App Economy will be social and location-based short-term and browser-based mid-term</vt:lpstr>
      <vt:lpstr>The future of the App Economy highly depends on the valid business models – which are still very often unclear …</vt:lpstr>
      <vt:lpstr>…and without the proper content not sustainable</vt:lpstr>
    </vt:vector>
  </TitlesOfParts>
  <Company>Accenture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Jan Bichler</dc:creator>
  <dc:description>Accenture</dc:description>
  <cp:lastModifiedBy>Trainer</cp:lastModifiedBy>
  <cp:revision>126</cp:revision>
  <dcterms:created xsi:type="dcterms:W3CDTF">2009-07-22T06:53:27Z</dcterms:created>
  <dcterms:modified xsi:type="dcterms:W3CDTF">2011-11-18T07:27:31Z</dcterms:modified>
</cp:coreProperties>
</file>